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24.xml" ContentType="application/vnd.openxmlformats-officedocument.presentationml.notesSlide+xml"/>
  <Override PartName="/ppt/tags/tag28.xml" ContentType="application/vnd.openxmlformats-officedocument.presentationml.tags+xml"/>
  <Override PartName="/ppt/notesSlides/notesSlide25.xml" ContentType="application/vnd.openxmlformats-officedocument.presentationml.notesSlide+xml"/>
  <Override PartName="/ppt/tags/tag29.xml" ContentType="application/vnd.openxmlformats-officedocument.presentationml.tags+xml"/>
  <Override PartName="/ppt/notesSlides/notesSlide26.xml" ContentType="application/vnd.openxmlformats-officedocument.presentationml.notesSlide+xml"/>
  <Override PartName="/ppt/tags/tag30.xml" ContentType="application/vnd.openxmlformats-officedocument.presentationml.tags+xml"/>
  <Override PartName="/ppt/notesSlides/notesSlide27.xml" ContentType="application/vnd.openxmlformats-officedocument.presentationml.notesSlide+xml"/>
  <Override PartName="/ppt/tags/tag31.xml" ContentType="application/vnd.openxmlformats-officedocument.presentationml.tags+xml"/>
  <Override PartName="/ppt/notesSlides/notesSlide28.xml" ContentType="application/vnd.openxmlformats-officedocument.presentationml.notesSlide+xml"/>
  <Override PartName="/ppt/tags/tag32.xml" ContentType="application/vnd.openxmlformats-officedocument.presentationml.tags+xml"/>
  <Override PartName="/ppt/notesSlides/notesSlide29.xml" ContentType="application/vnd.openxmlformats-officedocument.presentationml.notesSlide+xml"/>
  <Override PartName="/ppt/tags/tag33.xml" ContentType="application/vnd.openxmlformats-officedocument.presentationml.tags+xml"/>
  <Override PartName="/ppt/notesSlides/notesSlide3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42"/>
  </p:notesMasterIdLst>
  <p:handoutMasterIdLst>
    <p:handoutMasterId r:id="rId43"/>
  </p:handoutMasterIdLst>
  <p:sldIdLst>
    <p:sldId id="308" r:id="rId5"/>
    <p:sldId id="367" r:id="rId6"/>
    <p:sldId id="369" r:id="rId7"/>
    <p:sldId id="365" r:id="rId8"/>
    <p:sldId id="401" r:id="rId9"/>
    <p:sldId id="346" r:id="rId10"/>
    <p:sldId id="394" r:id="rId11"/>
    <p:sldId id="395" r:id="rId12"/>
    <p:sldId id="396" r:id="rId13"/>
    <p:sldId id="397" r:id="rId14"/>
    <p:sldId id="347" r:id="rId15"/>
    <p:sldId id="399" r:id="rId16"/>
    <p:sldId id="372" r:id="rId17"/>
    <p:sldId id="374" r:id="rId18"/>
    <p:sldId id="384" r:id="rId19"/>
    <p:sldId id="375" r:id="rId20"/>
    <p:sldId id="376" r:id="rId21"/>
    <p:sldId id="385" r:id="rId22"/>
    <p:sldId id="386" r:id="rId23"/>
    <p:sldId id="387" r:id="rId24"/>
    <p:sldId id="388" r:id="rId25"/>
    <p:sldId id="400" r:id="rId26"/>
    <p:sldId id="379" r:id="rId27"/>
    <p:sldId id="380" r:id="rId28"/>
    <p:sldId id="381" r:id="rId29"/>
    <p:sldId id="382" r:id="rId30"/>
    <p:sldId id="402" r:id="rId31"/>
    <p:sldId id="389" r:id="rId32"/>
    <p:sldId id="390" r:id="rId33"/>
    <p:sldId id="398" r:id="rId34"/>
    <p:sldId id="393" r:id="rId35"/>
    <p:sldId id="392" r:id="rId36"/>
    <p:sldId id="370" r:id="rId37"/>
    <p:sldId id="371" r:id="rId38"/>
    <p:sldId id="361" r:id="rId39"/>
    <p:sldId id="363" r:id="rId40"/>
    <p:sldId id="333" r:id="rId41"/>
  </p:sldIdLst>
  <p:sldSz cx="12192000" cy="6858000"/>
  <p:notesSz cx="6858000" cy="9144000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0001B"/>
    <a:srgbClr val="B6103C"/>
    <a:srgbClr val="595959"/>
    <a:srgbClr val="940B2D"/>
    <a:srgbClr val="C0223C"/>
    <a:srgbClr val="86182A"/>
    <a:srgbClr val="971B2F"/>
    <a:srgbClr val="04316A"/>
    <a:srgbClr val="C50F3C"/>
    <a:srgbClr val="041E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9123D1-FC4E-4AF6-B2AF-CFFA1A45A575}" v="24" dt="2024-02-09T07:27:04.248"/>
    <p1510:client id="{77B930A9-96FF-3B2F-9660-0C45E718942A}" v="424" dt="2024-02-08T15:05:43.806"/>
    <p1510:client id="{9C66300D-B9E5-4635-975C-19C696C9CF78}" v="8590" dt="2024-02-09T08:55:11.926"/>
    <p1510:client id="{9EBA97F5-AA3D-A24B-BFAD-BF478EA5639D}" v="3028" dt="2024-02-08T17:09:44.871"/>
    <p1510:client id="{F49493B9-4346-99EA-2A36-2C86354AA4C4}" v="751" dt="2024-02-08T10:48:15.8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50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ourati, Omar" userId="S::oz48ohuv@fauad.fau.de::543b926d-baf3-4e4d-861e-19746c37446c" providerId="AD" clId="Web-{F49493B9-4346-99EA-2A36-2C86354AA4C4}"/>
    <pc:docChg chg="modSld">
      <pc:chgData name="Fourati, Omar" userId="S::oz48ohuv@fauad.fau.de::543b926d-baf3-4e4d-861e-19746c37446c" providerId="AD" clId="Web-{F49493B9-4346-99EA-2A36-2C86354AA4C4}" dt="2024-02-08T10:48:14.830" v="387" actId="20577"/>
      <pc:docMkLst>
        <pc:docMk/>
      </pc:docMkLst>
      <pc:sldChg chg="modSp modNotes">
        <pc:chgData name="Fourati, Omar" userId="S::oz48ohuv@fauad.fau.de::543b926d-baf3-4e4d-861e-19746c37446c" providerId="AD" clId="Web-{F49493B9-4346-99EA-2A36-2C86354AA4C4}" dt="2024-02-08T10:39:28.139" v="291" actId="20577"/>
        <pc:sldMkLst>
          <pc:docMk/>
          <pc:sldMk cId="482519800" sldId="365"/>
        </pc:sldMkLst>
        <pc:spChg chg="mod">
          <ac:chgData name="Fourati, Omar" userId="S::oz48ohuv@fauad.fau.de::543b926d-baf3-4e4d-861e-19746c37446c" providerId="AD" clId="Web-{F49493B9-4346-99EA-2A36-2C86354AA4C4}" dt="2024-02-08T10:39:28.139" v="291" actId="20577"/>
          <ac:spMkLst>
            <pc:docMk/>
            <pc:sldMk cId="482519800" sldId="365"/>
            <ac:spMk id="5" creationId="{2DD64BF6-ED49-C683-1FAD-F1139BEDF1A2}"/>
          </ac:spMkLst>
        </pc:spChg>
      </pc:sldChg>
      <pc:sldChg chg="delSp">
        <pc:chgData name="Fourati, Omar" userId="S::oz48ohuv@fauad.fau.de::543b926d-baf3-4e4d-861e-19746c37446c" providerId="AD" clId="Web-{F49493B9-4346-99EA-2A36-2C86354AA4C4}" dt="2024-02-08T10:22:36.120" v="11"/>
        <pc:sldMkLst>
          <pc:docMk/>
          <pc:sldMk cId="3195248987" sldId="367"/>
        </pc:sldMkLst>
        <pc:spChg chg="del">
          <ac:chgData name="Fourati, Omar" userId="S::oz48ohuv@fauad.fau.de::543b926d-baf3-4e4d-861e-19746c37446c" providerId="AD" clId="Web-{F49493B9-4346-99EA-2A36-2C86354AA4C4}" dt="2024-02-08T10:22:36.120" v="11"/>
          <ac:spMkLst>
            <pc:docMk/>
            <pc:sldMk cId="3195248987" sldId="367"/>
            <ac:spMk id="15" creationId="{F50780A5-4EDB-DF8C-EFCF-FDC2157A943A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10"/>
          <ac:spMkLst>
            <pc:docMk/>
            <pc:sldMk cId="3195248987" sldId="367"/>
            <ac:spMk id="16" creationId="{E155DA9D-7B5F-F4E7-DBD3-F06507C6CA1A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9"/>
          <ac:spMkLst>
            <pc:docMk/>
            <pc:sldMk cId="3195248987" sldId="367"/>
            <ac:spMk id="17" creationId="{F8E80334-98AD-30A7-C64F-9143C91597BE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8"/>
          <ac:spMkLst>
            <pc:docMk/>
            <pc:sldMk cId="3195248987" sldId="367"/>
            <ac:spMk id="18" creationId="{F430E2D1-67B6-A69E-D4FE-94E6E0CAAC3A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7"/>
          <ac:spMkLst>
            <pc:docMk/>
            <pc:sldMk cId="3195248987" sldId="367"/>
            <ac:spMk id="19" creationId="{F8F292F6-B37A-295C-02EF-3460FB56D2E4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6"/>
          <ac:spMkLst>
            <pc:docMk/>
            <pc:sldMk cId="3195248987" sldId="367"/>
            <ac:spMk id="20" creationId="{F5078ECF-B713-BFE7-089B-515CC131B481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5"/>
          <ac:spMkLst>
            <pc:docMk/>
            <pc:sldMk cId="3195248987" sldId="367"/>
            <ac:spMk id="21" creationId="{BB1A531E-0C16-80D0-E200-C50A5599DB3E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4"/>
          <ac:spMkLst>
            <pc:docMk/>
            <pc:sldMk cId="3195248987" sldId="367"/>
            <ac:spMk id="22" creationId="{E3E044C5-C4B6-3BD0-A7DE-2BB441D0C2AF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3"/>
          <ac:spMkLst>
            <pc:docMk/>
            <pc:sldMk cId="3195248987" sldId="367"/>
            <ac:spMk id="23" creationId="{2624B1C4-2D80-89EB-061F-5CDCC3FEF53A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2"/>
          <ac:spMkLst>
            <pc:docMk/>
            <pc:sldMk cId="3195248987" sldId="367"/>
            <ac:spMk id="24" creationId="{E03754C0-3BAF-C0A0-77D1-0FA4545905CA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1"/>
          <ac:spMkLst>
            <pc:docMk/>
            <pc:sldMk cId="3195248987" sldId="367"/>
            <ac:spMk id="25" creationId="{A9720AC1-4084-7CF3-CD51-5DB56FAC4216}"/>
          </ac:spMkLst>
        </pc:spChg>
        <pc:spChg chg="del">
          <ac:chgData name="Fourati, Omar" userId="S::oz48ohuv@fauad.fau.de::543b926d-baf3-4e4d-861e-19746c37446c" providerId="AD" clId="Web-{F49493B9-4346-99EA-2A36-2C86354AA4C4}" dt="2024-02-08T10:22:36.120" v="0"/>
          <ac:spMkLst>
            <pc:docMk/>
            <pc:sldMk cId="3195248987" sldId="367"/>
            <ac:spMk id="26" creationId="{661016ED-EDC0-29E2-3EC2-D55204E8A531}"/>
          </ac:spMkLst>
        </pc:spChg>
      </pc:sldChg>
      <pc:sldChg chg="modSp">
        <pc:chgData name="Fourati, Omar" userId="S::oz48ohuv@fauad.fau.de::543b926d-baf3-4e4d-861e-19746c37446c" providerId="AD" clId="Web-{F49493B9-4346-99EA-2A36-2C86354AA4C4}" dt="2024-02-08T10:34:53.786" v="228" actId="20577"/>
        <pc:sldMkLst>
          <pc:docMk/>
          <pc:sldMk cId="3121911503" sldId="372"/>
        </pc:sldMkLst>
        <pc:spChg chg="mod">
          <ac:chgData name="Fourati, Omar" userId="S::oz48ohuv@fauad.fau.de::543b926d-baf3-4e4d-861e-19746c37446c" providerId="AD" clId="Web-{F49493B9-4346-99EA-2A36-2C86354AA4C4}" dt="2024-02-08T10:34:39.364" v="216" actId="20577"/>
          <ac:spMkLst>
            <pc:docMk/>
            <pc:sldMk cId="3121911503" sldId="372"/>
            <ac:spMk id="6" creationId="{A7A7615D-2CE4-09EF-591A-61E347348644}"/>
          </ac:spMkLst>
        </pc:spChg>
        <pc:spChg chg="mod">
          <ac:chgData name="Fourati, Omar" userId="S::oz48ohuv@fauad.fau.de::543b926d-baf3-4e4d-861e-19746c37446c" providerId="AD" clId="Web-{F49493B9-4346-99EA-2A36-2C86354AA4C4}" dt="2024-02-08T10:34:53.786" v="228" actId="20577"/>
          <ac:spMkLst>
            <pc:docMk/>
            <pc:sldMk cId="3121911503" sldId="372"/>
            <ac:spMk id="9" creationId="{79B5988A-0908-974E-AED1-8F898B02417D}"/>
          </ac:spMkLst>
        </pc:spChg>
        <pc:spChg chg="mod">
          <ac:chgData name="Fourati, Omar" userId="S::oz48ohuv@fauad.fau.de::543b926d-baf3-4e4d-861e-19746c37446c" providerId="AD" clId="Web-{F49493B9-4346-99EA-2A36-2C86354AA4C4}" dt="2024-02-08T10:24:53.828" v="16" actId="20577"/>
          <ac:spMkLst>
            <pc:docMk/>
            <pc:sldMk cId="3121911503" sldId="372"/>
            <ac:spMk id="19" creationId="{DA5B5807-D164-B318-53B3-8173213648E0}"/>
          </ac:spMkLst>
        </pc:spChg>
      </pc:sldChg>
      <pc:sldChg chg="modSp">
        <pc:chgData name="Fourati, Omar" userId="S::oz48ohuv@fauad.fau.de::543b926d-baf3-4e4d-861e-19746c37446c" providerId="AD" clId="Web-{F49493B9-4346-99EA-2A36-2C86354AA4C4}" dt="2024-02-08T10:35:08.568" v="234" actId="20577"/>
        <pc:sldMkLst>
          <pc:docMk/>
          <pc:sldMk cId="4236777214" sldId="374"/>
        </pc:sldMkLst>
        <pc:spChg chg="mod">
          <ac:chgData name="Fourati, Omar" userId="S::oz48ohuv@fauad.fau.de::543b926d-baf3-4e4d-861e-19746c37446c" providerId="AD" clId="Web-{F49493B9-4346-99EA-2A36-2C86354AA4C4}" dt="2024-02-08T10:35:08.568" v="234" actId="20577"/>
          <ac:spMkLst>
            <pc:docMk/>
            <pc:sldMk cId="4236777214" sldId="374"/>
            <ac:spMk id="6" creationId="{88CFF62C-1EE1-7D77-AD00-FE746E295D03}"/>
          </ac:spMkLst>
        </pc:spChg>
        <pc:spChg chg="mod">
          <ac:chgData name="Fourati, Omar" userId="S::oz48ohuv@fauad.fau.de::543b926d-baf3-4e4d-861e-19746c37446c" providerId="AD" clId="Web-{F49493B9-4346-99EA-2A36-2C86354AA4C4}" dt="2024-02-08T10:25:17.125" v="19" actId="1076"/>
          <ac:spMkLst>
            <pc:docMk/>
            <pc:sldMk cId="4236777214" sldId="374"/>
            <ac:spMk id="7" creationId="{C787C9AD-3626-3F15-7F2D-A70CCD323B07}"/>
          </ac:spMkLst>
        </pc:spChg>
        <pc:spChg chg="mod">
          <ac:chgData name="Fourati, Omar" userId="S::oz48ohuv@fauad.fau.de::543b926d-baf3-4e4d-861e-19746c37446c" providerId="AD" clId="Web-{F49493B9-4346-99EA-2A36-2C86354AA4C4}" dt="2024-02-08T10:35:02.943" v="231" actId="20577"/>
          <ac:spMkLst>
            <pc:docMk/>
            <pc:sldMk cId="4236777214" sldId="374"/>
            <ac:spMk id="9" creationId="{79971FA6-EFE4-C695-6E1E-060E4E43F913}"/>
          </ac:spMkLst>
        </pc:spChg>
        <pc:picChg chg="mod">
          <ac:chgData name="Fourati, Omar" userId="S::oz48ohuv@fauad.fau.de::543b926d-baf3-4e4d-861e-19746c37446c" providerId="AD" clId="Web-{F49493B9-4346-99EA-2A36-2C86354AA4C4}" dt="2024-02-08T10:25:13.016" v="18" actId="1076"/>
          <ac:picMkLst>
            <pc:docMk/>
            <pc:sldMk cId="4236777214" sldId="374"/>
            <ac:picMk id="18" creationId="{E5C454DD-A122-AE7F-3344-0C5430313405}"/>
          </ac:picMkLst>
        </pc:picChg>
      </pc:sldChg>
      <pc:sldChg chg="modSp">
        <pc:chgData name="Fourati, Omar" userId="S::oz48ohuv@fauad.fau.de::543b926d-baf3-4e4d-861e-19746c37446c" providerId="AD" clId="Web-{F49493B9-4346-99EA-2A36-2C86354AA4C4}" dt="2024-02-08T10:35:31.162" v="246" actId="20577"/>
        <pc:sldMkLst>
          <pc:docMk/>
          <pc:sldMk cId="3887009211" sldId="375"/>
        </pc:sldMkLst>
        <pc:spChg chg="mod">
          <ac:chgData name="Fourati, Omar" userId="S::oz48ohuv@fauad.fau.de::543b926d-baf3-4e4d-861e-19746c37446c" providerId="AD" clId="Web-{F49493B9-4346-99EA-2A36-2C86354AA4C4}" dt="2024-02-08T10:35:31.162" v="246" actId="20577"/>
          <ac:spMkLst>
            <pc:docMk/>
            <pc:sldMk cId="3887009211" sldId="375"/>
            <ac:spMk id="6" creationId="{3BABE590-5298-BFBE-18D8-3DC5D0D42924}"/>
          </ac:spMkLst>
        </pc:spChg>
        <pc:spChg chg="mod">
          <ac:chgData name="Fourati, Omar" userId="S::oz48ohuv@fauad.fau.de::543b926d-baf3-4e4d-861e-19746c37446c" providerId="AD" clId="Web-{F49493B9-4346-99EA-2A36-2C86354AA4C4}" dt="2024-02-08T10:35:22.959" v="243" actId="20577"/>
          <ac:spMkLst>
            <pc:docMk/>
            <pc:sldMk cId="3887009211" sldId="375"/>
            <ac:spMk id="9" creationId="{C263F27F-C0BA-A482-CE73-67322463FF21}"/>
          </ac:spMkLst>
        </pc:spChg>
      </pc:sldChg>
      <pc:sldChg chg="modSp">
        <pc:chgData name="Fourati, Omar" userId="S::oz48ohuv@fauad.fau.de::543b926d-baf3-4e4d-861e-19746c37446c" providerId="AD" clId="Web-{F49493B9-4346-99EA-2A36-2C86354AA4C4}" dt="2024-02-08T10:35:42.913" v="252" actId="20577"/>
        <pc:sldMkLst>
          <pc:docMk/>
          <pc:sldMk cId="932072143" sldId="376"/>
        </pc:sldMkLst>
        <pc:spChg chg="mod">
          <ac:chgData name="Fourati, Omar" userId="S::oz48ohuv@fauad.fau.de::543b926d-baf3-4e4d-861e-19746c37446c" providerId="AD" clId="Web-{F49493B9-4346-99EA-2A36-2C86354AA4C4}" dt="2024-02-08T10:35:35.131" v="249" actId="20577"/>
          <ac:spMkLst>
            <pc:docMk/>
            <pc:sldMk cId="932072143" sldId="376"/>
            <ac:spMk id="6" creationId="{69A8F6D0-9641-05E5-1DEB-DA4C00FA023C}"/>
          </ac:spMkLst>
        </pc:spChg>
        <pc:spChg chg="mod">
          <ac:chgData name="Fourati, Omar" userId="S::oz48ohuv@fauad.fau.de::543b926d-baf3-4e4d-861e-19746c37446c" providerId="AD" clId="Web-{F49493B9-4346-99EA-2A36-2C86354AA4C4}" dt="2024-02-08T10:35:42.913" v="252" actId="20577"/>
          <ac:spMkLst>
            <pc:docMk/>
            <pc:sldMk cId="932072143" sldId="376"/>
            <ac:spMk id="9" creationId="{905F841D-7454-AF98-A962-AEAC5A276314}"/>
          </ac:spMkLst>
        </pc:spChg>
      </pc:sldChg>
      <pc:sldChg chg="modSp">
        <pc:chgData name="Fourati, Omar" userId="S::oz48ohuv@fauad.fau.de::543b926d-baf3-4e4d-861e-19746c37446c" providerId="AD" clId="Web-{F49493B9-4346-99EA-2A36-2C86354AA4C4}" dt="2024-02-08T10:35:17.974" v="240" actId="20577"/>
        <pc:sldMkLst>
          <pc:docMk/>
          <pc:sldMk cId="168182596" sldId="384"/>
        </pc:sldMkLst>
        <pc:spChg chg="mod">
          <ac:chgData name="Fourati, Omar" userId="S::oz48ohuv@fauad.fau.de::543b926d-baf3-4e4d-861e-19746c37446c" providerId="AD" clId="Web-{F49493B9-4346-99EA-2A36-2C86354AA4C4}" dt="2024-02-08T10:35:11.115" v="237" actId="20577"/>
          <ac:spMkLst>
            <pc:docMk/>
            <pc:sldMk cId="168182596" sldId="384"/>
            <ac:spMk id="6" creationId="{506662A2-6D31-8D1B-465C-7C76C9A12EE6}"/>
          </ac:spMkLst>
        </pc:spChg>
        <pc:spChg chg="mod">
          <ac:chgData name="Fourati, Omar" userId="S::oz48ohuv@fauad.fau.de::543b926d-baf3-4e4d-861e-19746c37446c" providerId="AD" clId="Web-{F49493B9-4346-99EA-2A36-2C86354AA4C4}" dt="2024-02-08T10:35:17.974" v="240" actId="20577"/>
          <ac:spMkLst>
            <pc:docMk/>
            <pc:sldMk cId="168182596" sldId="384"/>
            <ac:spMk id="9" creationId="{2C3874D4-A4D3-3593-F784-035CEBEFAB10}"/>
          </ac:spMkLst>
        </pc:spChg>
      </pc:sldChg>
      <pc:sldChg chg="modSp">
        <pc:chgData name="Fourati, Omar" userId="S::oz48ohuv@fauad.fau.de::543b926d-baf3-4e4d-861e-19746c37446c" providerId="AD" clId="Web-{F49493B9-4346-99EA-2A36-2C86354AA4C4}" dt="2024-02-08T10:43:05.538" v="368" actId="20577"/>
        <pc:sldMkLst>
          <pc:docMk/>
          <pc:sldMk cId="3184284025" sldId="385"/>
        </pc:sldMkLst>
        <pc:spChg chg="mod">
          <ac:chgData name="Fourati, Omar" userId="S::oz48ohuv@fauad.fau.de::543b926d-baf3-4e4d-861e-19746c37446c" providerId="AD" clId="Web-{F49493B9-4346-99EA-2A36-2C86354AA4C4}" dt="2024-02-08T10:43:05.538" v="368" actId="20577"/>
          <ac:spMkLst>
            <pc:docMk/>
            <pc:sldMk cId="3184284025" sldId="385"/>
            <ac:spMk id="6" creationId="{A14F8CF3-CDBD-899B-1FA5-2142224D4FC4}"/>
          </ac:spMkLst>
        </pc:spChg>
        <pc:spChg chg="mod">
          <ac:chgData name="Fourati, Omar" userId="S::oz48ohuv@fauad.fau.de::543b926d-baf3-4e4d-861e-19746c37446c" providerId="AD" clId="Web-{F49493B9-4346-99EA-2A36-2C86354AA4C4}" dt="2024-02-08T10:42:49.131" v="359" actId="20577"/>
          <ac:spMkLst>
            <pc:docMk/>
            <pc:sldMk cId="3184284025" sldId="385"/>
            <ac:spMk id="9" creationId="{29EE7C30-3AAA-5D29-7E69-95328CD970B0}"/>
          </ac:spMkLst>
        </pc:spChg>
        <pc:spChg chg="mod">
          <ac:chgData name="Fourati, Omar" userId="S::oz48ohuv@fauad.fau.de::543b926d-baf3-4e4d-861e-19746c37446c" providerId="AD" clId="Web-{F49493B9-4346-99EA-2A36-2C86354AA4C4}" dt="2024-02-08T10:26:44.847" v="20" actId="1076"/>
          <ac:spMkLst>
            <pc:docMk/>
            <pc:sldMk cId="3184284025" sldId="385"/>
            <ac:spMk id="10" creationId="{E31622D7-B651-D5C9-6B0B-68161795BB00}"/>
          </ac:spMkLst>
        </pc:spChg>
      </pc:sldChg>
      <pc:sldChg chg="modSp">
        <pc:chgData name="Fourati, Omar" userId="S::oz48ohuv@fauad.fau.de::543b926d-baf3-4e4d-861e-19746c37446c" providerId="AD" clId="Web-{F49493B9-4346-99EA-2A36-2C86354AA4C4}" dt="2024-02-08T10:43:14.476" v="373" actId="20577"/>
        <pc:sldMkLst>
          <pc:docMk/>
          <pc:sldMk cId="3321945845" sldId="386"/>
        </pc:sldMkLst>
        <pc:spChg chg="mod">
          <ac:chgData name="Fourati, Omar" userId="S::oz48ohuv@fauad.fau.de::543b926d-baf3-4e4d-861e-19746c37446c" providerId="AD" clId="Web-{F49493B9-4346-99EA-2A36-2C86354AA4C4}" dt="2024-02-08T10:43:08.100" v="370" actId="20577"/>
          <ac:spMkLst>
            <pc:docMk/>
            <pc:sldMk cId="3321945845" sldId="386"/>
            <ac:spMk id="6" creationId="{02867D57-6405-293C-38B7-FE7FF2D78786}"/>
          </ac:spMkLst>
        </pc:spChg>
        <pc:spChg chg="mod">
          <ac:chgData name="Fourati, Omar" userId="S::oz48ohuv@fauad.fau.de::543b926d-baf3-4e4d-861e-19746c37446c" providerId="AD" clId="Web-{F49493B9-4346-99EA-2A36-2C86354AA4C4}" dt="2024-02-08T10:43:14.476" v="373" actId="20577"/>
          <ac:spMkLst>
            <pc:docMk/>
            <pc:sldMk cId="3321945845" sldId="386"/>
            <ac:spMk id="9" creationId="{CE8824C7-6089-3740-60EC-CDC0665E3EFE}"/>
          </ac:spMkLst>
        </pc:spChg>
      </pc:sldChg>
      <pc:sldChg chg="modSp">
        <pc:chgData name="Fourati, Omar" userId="S::oz48ohuv@fauad.fau.de::543b926d-baf3-4e4d-861e-19746c37446c" providerId="AD" clId="Web-{F49493B9-4346-99EA-2A36-2C86354AA4C4}" dt="2024-02-08T10:43:23.710" v="379" actId="20577"/>
        <pc:sldMkLst>
          <pc:docMk/>
          <pc:sldMk cId="246774282" sldId="387"/>
        </pc:sldMkLst>
        <pc:spChg chg="mod">
          <ac:chgData name="Fourati, Omar" userId="S::oz48ohuv@fauad.fau.de::543b926d-baf3-4e4d-861e-19746c37446c" providerId="AD" clId="Web-{F49493B9-4346-99EA-2A36-2C86354AA4C4}" dt="2024-02-08T10:43:23.710" v="379" actId="20577"/>
          <ac:spMkLst>
            <pc:docMk/>
            <pc:sldMk cId="246774282" sldId="387"/>
            <ac:spMk id="6" creationId="{968E2D5E-3FF7-A5E1-0944-21651DE55212}"/>
          </ac:spMkLst>
        </pc:spChg>
        <pc:spChg chg="mod">
          <ac:chgData name="Fourati, Omar" userId="S::oz48ohuv@fauad.fau.de::543b926d-baf3-4e4d-861e-19746c37446c" providerId="AD" clId="Web-{F49493B9-4346-99EA-2A36-2C86354AA4C4}" dt="2024-02-08T10:43:18.804" v="376" actId="20577"/>
          <ac:spMkLst>
            <pc:docMk/>
            <pc:sldMk cId="246774282" sldId="387"/>
            <ac:spMk id="9" creationId="{0C2B6475-9DD4-93A1-98A0-BBFCED3BB31C}"/>
          </ac:spMkLst>
        </pc:spChg>
      </pc:sldChg>
      <pc:sldChg chg="modSp">
        <pc:chgData name="Fourati, Omar" userId="S::oz48ohuv@fauad.fau.de::543b926d-baf3-4e4d-861e-19746c37446c" providerId="AD" clId="Web-{F49493B9-4346-99EA-2A36-2C86354AA4C4}" dt="2024-02-08T10:48:14.830" v="387" actId="20577"/>
        <pc:sldMkLst>
          <pc:docMk/>
          <pc:sldMk cId="46430825" sldId="388"/>
        </pc:sldMkLst>
        <pc:spChg chg="mod">
          <ac:chgData name="Fourati, Omar" userId="S::oz48ohuv@fauad.fau.de::543b926d-baf3-4e4d-861e-19746c37446c" providerId="AD" clId="Web-{F49493B9-4346-99EA-2A36-2C86354AA4C4}" dt="2024-02-08T10:43:27.195" v="382" actId="20577"/>
          <ac:spMkLst>
            <pc:docMk/>
            <pc:sldMk cId="46430825" sldId="388"/>
            <ac:spMk id="6" creationId="{86F26F9A-FC81-B7A0-9CDC-3FA00BA02330}"/>
          </ac:spMkLst>
        </pc:spChg>
        <pc:spChg chg="mod">
          <ac:chgData name="Fourati, Omar" userId="S::oz48ohuv@fauad.fau.de::543b926d-baf3-4e4d-861e-19746c37446c" providerId="AD" clId="Web-{F49493B9-4346-99EA-2A36-2C86354AA4C4}" dt="2024-02-08T10:43:34.320" v="385" actId="20577"/>
          <ac:spMkLst>
            <pc:docMk/>
            <pc:sldMk cId="46430825" sldId="388"/>
            <ac:spMk id="9" creationId="{676B30D6-CF6E-5AC5-D58B-F7F8F9D97649}"/>
          </ac:spMkLst>
        </pc:spChg>
        <pc:spChg chg="mod">
          <ac:chgData name="Fourati, Omar" userId="S::oz48ohuv@fauad.fau.de::543b926d-baf3-4e4d-861e-19746c37446c" providerId="AD" clId="Web-{F49493B9-4346-99EA-2A36-2C86354AA4C4}" dt="2024-02-08T10:48:14.830" v="387" actId="20577"/>
          <ac:spMkLst>
            <pc:docMk/>
            <pc:sldMk cId="46430825" sldId="388"/>
            <ac:spMk id="10" creationId="{589E668E-366A-6540-6E3C-A5056C92B7F5}"/>
          </ac:spMkLst>
        </pc:spChg>
      </pc:sldChg>
    </pc:docChg>
  </pc:docChgLst>
  <pc:docChgLst>
    <pc:chgData name="Fourati, Omar" userId="543b926d-baf3-4e4d-861e-19746c37446c" providerId="ADAL" clId="{38EF6F02-8D7F-4AFC-8690-4D3D22B1F12A}"/>
    <pc:docChg chg="custSel modSld">
      <pc:chgData name="Fourati, Omar" userId="543b926d-baf3-4e4d-861e-19746c37446c" providerId="ADAL" clId="{38EF6F02-8D7F-4AFC-8690-4D3D22B1F12A}" dt="2024-02-06T15:15:01.295" v="95" actId="20577"/>
      <pc:docMkLst>
        <pc:docMk/>
      </pc:docMkLst>
      <pc:sldChg chg="delSp modSp mod">
        <pc:chgData name="Fourati, Omar" userId="543b926d-baf3-4e4d-861e-19746c37446c" providerId="ADAL" clId="{38EF6F02-8D7F-4AFC-8690-4D3D22B1F12A}" dt="2024-02-06T15:15:01.295" v="95" actId="20577"/>
        <pc:sldMkLst>
          <pc:docMk/>
          <pc:sldMk cId="3887009211" sldId="375"/>
        </pc:sldMkLst>
        <pc:spChg chg="mod">
          <ac:chgData name="Fourati, Omar" userId="543b926d-baf3-4e4d-861e-19746c37446c" providerId="ADAL" clId="{38EF6F02-8D7F-4AFC-8690-4D3D22B1F12A}" dt="2024-02-06T15:15:01.295" v="95" actId="20577"/>
          <ac:spMkLst>
            <pc:docMk/>
            <pc:sldMk cId="3887009211" sldId="375"/>
            <ac:spMk id="7" creationId="{FE577927-6A20-8760-6501-F09C9A62E2B5}"/>
          </ac:spMkLst>
        </pc:spChg>
        <pc:spChg chg="del">
          <ac:chgData name="Fourati, Omar" userId="543b926d-baf3-4e4d-861e-19746c37446c" providerId="ADAL" clId="{38EF6F02-8D7F-4AFC-8690-4D3D22B1F12A}" dt="2024-02-06T15:14:44.491" v="93" actId="478"/>
          <ac:spMkLst>
            <pc:docMk/>
            <pc:sldMk cId="3887009211" sldId="375"/>
            <ac:spMk id="16" creationId="{009D30E0-F428-E07A-52C2-9CC71829F64C}"/>
          </ac:spMkLst>
        </pc:spChg>
      </pc:sldChg>
    </pc:docChg>
  </pc:docChgLst>
  <pc:docChgLst>
    <pc:chgData name="Jobst, Hanna" userId="e86661fe-1388-4b75-a8f7-53b9f30bf181" providerId="ADAL" clId="{29F3D02E-F93C-B749-9795-12541735712D}"/>
    <pc:docChg chg="undo custSel addSld delSld modSld replTag">
      <pc:chgData name="Jobst, Hanna" userId="e86661fe-1388-4b75-a8f7-53b9f30bf181" providerId="ADAL" clId="{29F3D02E-F93C-B749-9795-12541735712D}" dt="2024-01-17T14:56:27.371" v="1678" actId="20577"/>
      <pc:docMkLst>
        <pc:docMk/>
      </pc:docMkLst>
      <pc:sldChg chg="modNotesTx">
        <pc:chgData name="Jobst, Hanna" userId="e86661fe-1388-4b75-a8f7-53b9f30bf181" providerId="ADAL" clId="{29F3D02E-F93C-B749-9795-12541735712D}" dt="2024-01-17T14:56:27.371" v="1678" actId="20577"/>
        <pc:sldMkLst>
          <pc:docMk/>
          <pc:sldMk cId="1901641961" sldId="333"/>
        </pc:sldMkLst>
      </pc:sldChg>
      <pc:sldChg chg="modSp del mod">
        <pc:chgData name="Jobst, Hanna" userId="e86661fe-1388-4b75-a8f7-53b9f30bf181" providerId="ADAL" clId="{29F3D02E-F93C-B749-9795-12541735712D}" dt="2024-01-17T14:51:47.155" v="1474" actId="2696"/>
        <pc:sldMkLst>
          <pc:docMk/>
          <pc:sldMk cId="3842158526" sldId="345"/>
        </pc:sldMkLst>
        <pc:spChg chg="mod">
          <ac:chgData name="Jobst, Hanna" userId="e86661fe-1388-4b75-a8f7-53b9f30bf181" providerId="ADAL" clId="{29F3D02E-F93C-B749-9795-12541735712D}" dt="2024-01-16T12:55:45.582" v="607" actId="20577"/>
          <ac:spMkLst>
            <pc:docMk/>
            <pc:sldMk cId="3842158526" sldId="345"/>
            <ac:spMk id="5" creationId="{6A962568-18E6-A1C1-002C-F0DCB4531BC6}"/>
          </ac:spMkLst>
        </pc:spChg>
      </pc:sldChg>
      <pc:sldChg chg="addSp delSp modSp mod modNotesTx">
        <pc:chgData name="Jobst, Hanna" userId="e86661fe-1388-4b75-a8f7-53b9f30bf181" providerId="ADAL" clId="{29F3D02E-F93C-B749-9795-12541735712D}" dt="2024-01-17T14:51:52.433" v="1475" actId="20577"/>
        <pc:sldMkLst>
          <pc:docMk/>
          <pc:sldMk cId="2684686047" sldId="346"/>
        </pc:sldMkLst>
        <pc:spChg chg="mod">
          <ac:chgData name="Jobst, Hanna" userId="e86661fe-1388-4b75-a8f7-53b9f30bf181" providerId="ADAL" clId="{29F3D02E-F93C-B749-9795-12541735712D}" dt="2024-01-16T13:02:53.959" v="749" actId="1076"/>
          <ac:spMkLst>
            <pc:docMk/>
            <pc:sldMk cId="2684686047" sldId="346"/>
            <ac:spMk id="2" creationId="{E783DCD0-5EBA-FDA0-3C85-771616BA6C0B}"/>
          </ac:spMkLst>
        </pc:spChg>
        <pc:spChg chg="mod">
          <ac:chgData name="Jobst, Hanna" userId="e86661fe-1388-4b75-a8f7-53b9f30bf181" providerId="ADAL" clId="{29F3D02E-F93C-B749-9795-12541735712D}" dt="2024-01-16T13:24:47.215" v="936" actId="403"/>
          <ac:spMkLst>
            <pc:docMk/>
            <pc:sldMk cId="2684686047" sldId="346"/>
            <ac:spMk id="5" creationId="{C714FC84-1712-3A26-0E17-82B784CAE5F7}"/>
          </ac:spMkLst>
        </pc:spChg>
        <pc:spChg chg="del mod">
          <ac:chgData name="Jobst, Hanna" userId="e86661fe-1388-4b75-a8f7-53b9f30bf181" providerId="ADAL" clId="{29F3D02E-F93C-B749-9795-12541735712D}" dt="2024-01-11T18:24:13.007" v="50" actId="478"/>
          <ac:spMkLst>
            <pc:docMk/>
            <pc:sldMk cId="2684686047" sldId="346"/>
            <ac:spMk id="7" creationId="{4B136054-4DEF-290A-6380-27916CE60F9E}"/>
          </ac:spMkLst>
        </pc:spChg>
        <pc:spChg chg="add del mod">
          <ac:chgData name="Jobst, Hanna" userId="e86661fe-1388-4b75-a8f7-53b9f30bf181" providerId="ADAL" clId="{29F3D02E-F93C-B749-9795-12541735712D}" dt="2024-01-16T12:53:03.266" v="569" actId="478"/>
          <ac:spMkLst>
            <pc:docMk/>
            <pc:sldMk cId="2684686047" sldId="346"/>
            <ac:spMk id="7" creationId="{FF31C365-3183-9BFF-4B45-30D6295B849E}"/>
          </ac:spMkLst>
        </pc:spChg>
        <pc:spChg chg="mod">
          <ac:chgData name="Jobst, Hanna" userId="e86661fe-1388-4b75-a8f7-53b9f30bf181" providerId="ADAL" clId="{29F3D02E-F93C-B749-9795-12541735712D}" dt="2024-01-11T18:27:40.733" v="288" actId="20577"/>
          <ac:spMkLst>
            <pc:docMk/>
            <pc:sldMk cId="2684686047" sldId="346"/>
            <ac:spMk id="9" creationId="{78F3A41D-DCDE-0008-645C-BAC43680A794}"/>
          </ac:spMkLst>
        </pc:spChg>
        <pc:spChg chg="del">
          <ac:chgData name="Jobst, Hanna" userId="e86661fe-1388-4b75-a8f7-53b9f30bf181" providerId="ADAL" clId="{29F3D02E-F93C-B749-9795-12541735712D}" dt="2024-01-11T18:24:14.599" v="52" actId="478"/>
          <ac:spMkLst>
            <pc:docMk/>
            <pc:sldMk cId="2684686047" sldId="346"/>
            <ac:spMk id="10" creationId="{3D0DD344-2871-952B-2F30-ED07FB33D437}"/>
          </ac:spMkLst>
        </pc:spChg>
        <pc:spChg chg="add mod">
          <ac:chgData name="Jobst, Hanna" userId="e86661fe-1388-4b75-a8f7-53b9f30bf181" providerId="ADAL" clId="{29F3D02E-F93C-B749-9795-12541735712D}" dt="2024-01-16T13:25:07.348" v="940" actId="1076"/>
          <ac:spMkLst>
            <pc:docMk/>
            <pc:sldMk cId="2684686047" sldId="346"/>
            <ac:spMk id="12" creationId="{CFD3B061-3571-4FF6-94D7-13B0060D9BF2}"/>
          </ac:spMkLst>
        </pc:spChg>
        <pc:spChg chg="del">
          <ac:chgData name="Jobst, Hanna" userId="e86661fe-1388-4b75-a8f7-53b9f30bf181" providerId="ADAL" clId="{29F3D02E-F93C-B749-9795-12541735712D}" dt="2024-01-11T18:24:11.048" v="47" actId="478"/>
          <ac:spMkLst>
            <pc:docMk/>
            <pc:sldMk cId="2684686047" sldId="346"/>
            <ac:spMk id="12" creationId="{FD7DBE3A-A2A3-A0D5-5A4A-D5E4B034EA39}"/>
          </ac:spMkLst>
        </pc:spChg>
        <pc:spChg chg="add mod">
          <ac:chgData name="Jobst, Hanna" userId="e86661fe-1388-4b75-a8f7-53b9f30bf181" providerId="ADAL" clId="{29F3D02E-F93C-B749-9795-12541735712D}" dt="2024-01-17T14:51:52.433" v="1475" actId="20577"/>
          <ac:spMkLst>
            <pc:docMk/>
            <pc:sldMk cId="2684686047" sldId="346"/>
            <ac:spMk id="14" creationId="{B2AC7412-8DCC-3CCE-9562-9544FCDABB55}"/>
          </ac:spMkLst>
        </pc:spChg>
        <pc:spChg chg="del">
          <ac:chgData name="Jobst, Hanna" userId="e86661fe-1388-4b75-a8f7-53b9f30bf181" providerId="ADAL" clId="{29F3D02E-F93C-B749-9795-12541735712D}" dt="2024-01-11T18:24:13.670" v="51" actId="478"/>
          <ac:spMkLst>
            <pc:docMk/>
            <pc:sldMk cId="2684686047" sldId="346"/>
            <ac:spMk id="15" creationId="{5564A98E-4DC7-7491-CE4F-6D9B04DAB635}"/>
          </ac:spMkLst>
        </pc:spChg>
        <pc:spChg chg="del">
          <ac:chgData name="Jobst, Hanna" userId="e86661fe-1388-4b75-a8f7-53b9f30bf181" providerId="ADAL" clId="{29F3D02E-F93C-B749-9795-12541735712D}" dt="2024-01-11T18:24:12.320" v="49" actId="478"/>
          <ac:spMkLst>
            <pc:docMk/>
            <pc:sldMk cId="2684686047" sldId="346"/>
            <ac:spMk id="16" creationId="{9FDA23CE-E069-F92D-4860-AE323CFDA36E}"/>
          </ac:spMkLst>
        </pc:spChg>
        <pc:spChg chg="add mod">
          <ac:chgData name="Jobst, Hanna" userId="e86661fe-1388-4b75-a8f7-53b9f30bf181" providerId="ADAL" clId="{29F3D02E-F93C-B749-9795-12541735712D}" dt="2024-01-16T13:25:19.196" v="942" actId="1076"/>
          <ac:spMkLst>
            <pc:docMk/>
            <pc:sldMk cId="2684686047" sldId="346"/>
            <ac:spMk id="16" creationId="{F68DDE2E-8CF7-DB9C-7570-155318E11CF2}"/>
          </ac:spMkLst>
        </pc:spChg>
        <pc:spChg chg="del mod">
          <ac:chgData name="Jobst, Hanna" userId="e86661fe-1388-4b75-a8f7-53b9f30bf181" providerId="ADAL" clId="{29F3D02E-F93C-B749-9795-12541735712D}" dt="2024-01-11T18:24:10.144" v="46" actId="478"/>
          <ac:spMkLst>
            <pc:docMk/>
            <pc:sldMk cId="2684686047" sldId="346"/>
            <ac:spMk id="17" creationId="{29795C63-8706-398F-9308-630C698D2601}"/>
          </ac:spMkLst>
        </pc:spChg>
        <pc:spChg chg="add mod">
          <ac:chgData name="Jobst, Hanna" userId="e86661fe-1388-4b75-a8f7-53b9f30bf181" providerId="ADAL" clId="{29F3D02E-F93C-B749-9795-12541735712D}" dt="2024-01-16T13:25:12.612" v="941" actId="1076"/>
          <ac:spMkLst>
            <pc:docMk/>
            <pc:sldMk cId="2684686047" sldId="346"/>
            <ac:spMk id="18" creationId="{8F6B6B22-B722-14E7-EF83-4D4BC82F4DB0}"/>
          </ac:spMkLst>
        </pc:spChg>
        <pc:picChg chg="add mod">
          <ac:chgData name="Jobst, Hanna" userId="e86661fe-1388-4b75-a8f7-53b9f30bf181" providerId="ADAL" clId="{29F3D02E-F93C-B749-9795-12541735712D}" dt="2024-01-16T13:25:07.348" v="940" actId="1076"/>
          <ac:picMkLst>
            <pc:docMk/>
            <pc:sldMk cId="2684686047" sldId="346"/>
            <ac:picMk id="10" creationId="{CC7E869C-52C1-3DAF-0EE7-3B1DCFDBA721}"/>
          </ac:picMkLst>
        </pc:picChg>
        <pc:picChg chg="add del mod">
          <ac:chgData name="Jobst, Hanna" userId="e86661fe-1388-4b75-a8f7-53b9f30bf181" providerId="ADAL" clId="{29F3D02E-F93C-B749-9795-12541735712D}" dt="2024-01-16T13:24:13.696" v="931" actId="478"/>
          <ac:picMkLst>
            <pc:docMk/>
            <pc:sldMk cId="2684686047" sldId="346"/>
            <ac:picMk id="13" creationId="{D889B0A7-1519-ECEE-18AA-180E29A667CE}"/>
          </ac:picMkLst>
        </pc:picChg>
        <pc:picChg chg="add del mod">
          <ac:chgData name="Jobst, Hanna" userId="e86661fe-1388-4b75-a8f7-53b9f30bf181" providerId="ADAL" clId="{29F3D02E-F93C-B749-9795-12541735712D}" dt="2024-01-16T13:04:12.671" v="765" actId="478"/>
          <ac:picMkLst>
            <pc:docMk/>
            <pc:sldMk cId="2684686047" sldId="346"/>
            <ac:picMk id="15" creationId="{4A72AC65-F1F8-3B57-76AC-394E8FB929B3}"/>
          </ac:picMkLst>
        </pc:picChg>
        <pc:picChg chg="add del mod">
          <ac:chgData name="Jobst, Hanna" userId="e86661fe-1388-4b75-a8f7-53b9f30bf181" providerId="ADAL" clId="{29F3D02E-F93C-B749-9795-12541735712D}" dt="2024-01-16T13:04:09.712" v="763" actId="478"/>
          <ac:picMkLst>
            <pc:docMk/>
            <pc:sldMk cId="2684686047" sldId="346"/>
            <ac:picMk id="17" creationId="{52DDE306-B3D0-50E1-3BAC-C6E26AA04538}"/>
          </ac:picMkLst>
        </pc:picChg>
        <pc:picChg chg="add mod">
          <ac:chgData name="Jobst, Hanna" userId="e86661fe-1388-4b75-a8f7-53b9f30bf181" providerId="ADAL" clId="{29F3D02E-F93C-B749-9795-12541735712D}" dt="2024-01-16T13:25:19.196" v="942" actId="1076"/>
          <ac:picMkLst>
            <pc:docMk/>
            <pc:sldMk cId="2684686047" sldId="346"/>
            <ac:picMk id="19" creationId="{B2B04A4D-95CC-39E1-DAD5-4976D7A8BF6D}"/>
          </ac:picMkLst>
        </pc:picChg>
        <pc:picChg chg="add mod">
          <ac:chgData name="Jobst, Hanna" userId="e86661fe-1388-4b75-a8f7-53b9f30bf181" providerId="ADAL" clId="{29F3D02E-F93C-B749-9795-12541735712D}" dt="2024-01-16T13:25:12.612" v="941" actId="1076"/>
          <ac:picMkLst>
            <pc:docMk/>
            <pc:sldMk cId="2684686047" sldId="346"/>
            <ac:picMk id="20" creationId="{87E03796-281A-6C46-2DB1-D30790C4B0EC}"/>
          </ac:picMkLst>
        </pc:picChg>
        <pc:picChg chg="add del mod">
          <ac:chgData name="Jobst, Hanna" userId="e86661fe-1388-4b75-a8f7-53b9f30bf181" providerId="ADAL" clId="{29F3D02E-F93C-B749-9795-12541735712D}" dt="2024-01-16T13:05:13.649" v="773" actId="478"/>
          <ac:picMkLst>
            <pc:docMk/>
            <pc:sldMk cId="2684686047" sldId="346"/>
            <ac:picMk id="21" creationId="{DB833047-44D8-4191-1906-7CF3C7B8C82E}"/>
          </ac:picMkLst>
        </pc:picChg>
        <pc:picChg chg="add mod">
          <ac:chgData name="Jobst, Hanna" userId="e86661fe-1388-4b75-a8f7-53b9f30bf181" providerId="ADAL" clId="{29F3D02E-F93C-B749-9795-12541735712D}" dt="2024-01-16T13:24:29.555" v="935" actId="1076"/>
          <ac:picMkLst>
            <pc:docMk/>
            <pc:sldMk cId="2684686047" sldId="346"/>
            <ac:picMk id="22" creationId="{5E53B955-DB27-AF2F-A322-101EBBBD8B89}"/>
          </ac:picMkLst>
        </pc:picChg>
        <pc:picChg chg="del">
          <ac:chgData name="Jobst, Hanna" userId="e86661fe-1388-4b75-a8f7-53b9f30bf181" providerId="ADAL" clId="{29F3D02E-F93C-B749-9795-12541735712D}" dt="2024-01-16T12:53:01.979" v="568" actId="478"/>
          <ac:picMkLst>
            <pc:docMk/>
            <pc:sldMk cId="2684686047" sldId="346"/>
            <ac:picMk id="1026" creationId="{6EB68676-EFC3-FDFA-48E5-0045779D928D}"/>
          </ac:picMkLst>
        </pc:picChg>
      </pc:sldChg>
      <pc:sldChg chg="addSp delSp modSp mod delAnim modNotesTx">
        <pc:chgData name="Jobst, Hanna" userId="e86661fe-1388-4b75-a8f7-53b9f30bf181" providerId="ADAL" clId="{29F3D02E-F93C-B749-9795-12541735712D}" dt="2024-01-16T14:31:14.204" v="1027" actId="1035"/>
        <pc:sldMkLst>
          <pc:docMk/>
          <pc:sldMk cId="3420730971" sldId="347"/>
        </pc:sldMkLst>
        <pc:spChg chg="mod">
          <ac:chgData name="Jobst, Hanna" userId="e86661fe-1388-4b75-a8f7-53b9f30bf181" providerId="ADAL" clId="{29F3D02E-F93C-B749-9795-12541735712D}" dt="2024-01-11T18:28:31.337" v="312" actId="948"/>
          <ac:spMkLst>
            <pc:docMk/>
            <pc:sldMk cId="3420730971" sldId="347"/>
            <ac:spMk id="6" creationId="{B2F91D58-FAC4-ADAB-1F11-88D6E7B7C85C}"/>
          </ac:spMkLst>
        </pc:spChg>
        <pc:spChg chg="add del mod">
          <ac:chgData name="Jobst, Hanna" userId="e86661fe-1388-4b75-a8f7-53b9f30bf181" providerId="ADAL" clId="{29F3D02E-F93C-B749-9795-12541735712D}" dt="2024-01-11T18:28:09.574" v="290" actId="478"/>
          <ac:spMkLst>
            <pc:docMk/>
            <pc:sldMk cId="3420730971" sldId="347"/>
            <ac:spMk id="7" creationId="{EF9F3900-62D8-0DAD-3800-92DE3F69591D}"/>
          </ac:spMkLst>
        </pc:spChg>
        <pc:spChg chg="add del mod modVis">
          <ac:chgData name="Jobst, Hanna" userId="e86661fe-1388-4b75-a8f7-53b9f30bf181" providerId="ADAL" clId="{29F3D02E-F93C-B749-9795-12541735712D}" dt="2024-01-11T18:28:31.371" v="336"/>
          <ac:spMkLst>
            <pc:docMk/>
            <pc:sldMk cId="3420730971" sldId="347"/>
            <ac:spMk id="11" creationId="{8D2E9A6A-423B-EA3C-68F0-3AFC67E664E7}"/>
          </ac:spMkLst>
        </pc:spChg>
        <pc:spChg chg="del">
          <ac:chgData name="Jobst, Hanna" userId="e86661fe-1388-4b75-a8f7-53b9f30bf181" providerId="ADAL" clId="{29F3D02E-F93C-B749-9795-12541735712D}" dt="2024-01-11T18:28:16.644" v="293" actId="478"/>
          <ac:spMkLst>
            <pc:docMk/>
            <pc:sldMk cId="3420730971" sldId="347"/>
            <ac:spMk id="20" creationId="{BE4F6634-FB6F-6009-82E4-C4FFDB4735D8}"/>
          </ac:spMkLst>
        </pc:spChg>
        <pc:spChg chg="del">
          <ac:chgData name="Jobst, Hanna" userId="e86661fe-1388-4b75-a8f7-53b9f30bf181" providerId="ADAL" clId="{29F3D02E-F93C-B749-9795-12541735712D}" dt="2024-01-11T18:28:13.147" v="292" actId="478"/>
          <ac:spMkLst>
            <pc:docMk/>
            <pc:sldMk cId="3420730971" sldId="347"/>
            <ac:spMk id="21" creationId="{2B95FF19-A75B-24B0-4D4D-E6CF0C4F35AF}"/>
          </ac:spMkLst>
        </pc:spChg>
        <pc:spChg chg="del">
          <ac:chgData name="Jobst, Hanna" userId="e86661fe-1388-4b75-a8f7-53b9f30bf181" providerId="ADAL" clId="{29F3D02E-F93C-B749-9795-12541735712D}" dt="2024-01-11T18:28:11.647" v="291" actId="478"/>
          <ac:spMkLst>
            <pc:docMk/>
            <pc:sldMk cId="3420730971" sldId="347"/>
            <ac:spMk id="22" creationId="{CEEC5566-F4BE-A3A8-7812-7F9A084C3ACD}"/>
          </ac:spMkLst>
        </pc:spChg>
        <pc:graphicFrameChg chg="add mod">
          <ac:chgData name="Jobst, Hanna" userId="e86661fe-1388-4b75-a8f7-53b9f30bf181" providerId="ADAL" clId="{29F3D02E-F93C-B749-9795-12541735712D}" dt="2024-01-16T14:29:01.262" v="979"/>
          <ac:graphicFrameMkLst>
            <pc:docMk/>
            <pc:sldMk cId="3420730971" sldId="347"/>
            <ac:graphicFrameMk id="5" creationId="{D6DF5525-59D2-44FC-521B-CC8A1FBB6F32}"/>
          </ac:graphicFrameMkLst>
        </pc:graphicFrameChg>
        <pc:graphicFrameChg chg="add mod">
          <ac:chgData name="Jobst, Hanna" userId="e86661fe-1388-4b75-a8f7-53b9f30bf181" providerId="ADAL" clId="{29F3D02E-F93C-B749-9795-12541735712D}" dt="2024-01-16T14:29:08.390" v="980"/>
          <ac:graphicFrameMkLst>
            <pc:docMk/>
            <pc:sldMk cId="3420730971" sldId="347"/>
            <ac:graphicFrameMk id="7" creationId="{D0652092-001D-1EFA-0B8E-EB08CCED656E}"/>
          </ac:graphicFrameMkLst>
        </pc:graphicFrameChg>
        <pc:graphicFrameChg chg="mod">
          <ac:chgData name="Jobst, Hanna" userId="e86661fe-1388-4b75-a8f7-53b9f30bf181" providerId="ADAL" clId="{29F3D02E-F93C-B749-9795-12541735712D}" dt="2024-01-11T18:28:31.374" v="338"/>
          <ac:graphicFrameMkLst>
            <pc:docMk/>
            <pc:sldMk cId="3420730971" sldId="347"/>
            <ac:graphicFrameMk id="10" creationId="{E19D88DA-FAC1-5A1B-A05E-F0809232C013}"/>
          </ac:graphicFrameMkLst>
        </pc:graphicFrameChg>
        <pc:graphicFrameChg chg="add del mod modGraphic">
          <ac:chgData name="Jobst, Hanna" userId="e86661fe-1388-4b75-a8f7-53b9f30bf181" providerId="ADAL" clId="{29F3D02E-F93C-B749-9795-12541735712D}" dt="2024-01-16T14:30:10.049" v="1004" actId="478"/>
          <ac:graphicFrameMkLst>
            <pc:docMk/>
            <pc:sldMk cId="3420730971" sldId="347"/>
            <ac:graphicFrameMk id="11" creationId="{8B9BF4AA-1F3E-00EB-1465-EC242BA97315}"/>
          </ac:graphicFrameMkLst>
        </pc:graphicFrameChg>
        <pc:graphicFrameChg chg="add del mod modGraphic">
          <ac:chgData name="Jobst, Hanna" userId="e86661fe-1388-4b75-a8f7-53b9f30bf181" providerId="ADAL" clId="{29F3D02E-F93C-B749-9795-12541735712D}" dt="2024-01-16T14:28:44.240" v="977" actId="478"/>
          <ac:graphicFrameMkLst>
            <pc:docMk/>
            <pc:sldMk cId="3420730971" sldId="347"/>
            <ac:graphicFrameMk id="12" creationId="{CC2CE386-586B-FD89-A16C-9AE9936627C1}"/>
          </ac:graphicFrameMkLst>
        </pc:graphicFrameChg>
        <pc:graphicFrameChg chg="add del mod modGraphic">
          <ac:chgData name="Jobst, Hanna" userId="e86661fe-1388-4b75-a8f7-53b9f30bf181" providerId="ADAL" clId="{29F3D02E-F93C-B749-9795-12541735712D}" dt="2024-01-16T14:28:46.875" v="978" actId="478"/>
          <ac:graphicFrameMkLst>
            <pc:docMk/>
            <pc:sldMk cId="3420730971" sldId="347"/>
            <ac:graphicFrameMk id="13" creationId="{5A0DC75F-535F-8C7B-52E4-2E8FDC7CEDBC}"/>
          </ac:graphicFrameMkLst>
        </pc:graphicFrameChg>
        <pc:graphicFrameChg chg="add mod">
          <ac:chgData name="Jobst, Hanna" userId="e86661fe-1388-4b75-a8f7-53b9f30bf181" providerId="ADAL" clId="{29F3D02E-F93C-B749-9795-12541735712D}" dt="2024-01-16T14:30:10.872" v="1005"/>
          <ac:graphicFrameMkLst>
            <pc:docMk/>
            <pc:sldMk cId="3420730971" sldId="347"/>
            <ac:graphicFrameMk id="14" creationId="{37BDD097-1ED8-846B-DDA8-13BDA8C38487}"/>
          </ac:graphicFrameMkLst>
        </pc:graphicFrameChg>
        <pc:graphicFrameChg chg="add mod modGraphic">
          <ac:chgData name="Jobst, Hanna" userId="e86661fe-1388-4b75-a8f7-53b9f30bf181" providerId="ADAL" clId="{29F3D02E-F93C-B749-9795-12541735712D}" dt="2024-01-16T14:31:14.204" v="1027" actId="1035"/>
          <ac:graphicFrameMkLst>
            <pc:docMk/>
            <pc:sldMk cId="3420730971" sldId="347"/>
            <ac:graphicFrameMk id="15" creationId="{F71DAB7D-F241-7AB1-5CAD-1E14690324FC}"/>
          </ac:graphicFrameMkLst>
        </pc:graphicFrameChg>
        <pc:picChg chg="del">
          <ac:chgData name="Jobst, Hanna" userId="e86661fe-1388-4b75-a8f7-53b9f30bf181" providerId="ADAL" clId="{29F3D02E-F93C-B749-9795-12541735712D}" dt="2024-01-11T18:28:07.820" v="289" actId="478"/>
          <ac:picMkLst>
            <pc:docMk/>
            <pc:sldMk cId="3420730971" sldId="347"/>
            <ac:picMk id="18" creationId="{59950377-9D5E-C803-4F85-A7D6F300659A}"/>
          </ac:picMkLst>
        </pc:picChg>
      </pc:sldChg>
      <pc:sldChg chg="addSp delSp modSp add mod modClrScheme modAnim chgLayout">
        <pc:chgData name="Jobst, Hanna" userId="e86661fe-1388-4b75-a8f7-53b9f30bf181" providerId="ADAL" clId="{29F3D02E-F93C-B749-9795-12541735712D}" dt="2024-01-16T15:29:36.126" v="1424" actId="1076"/>
        <pc:sldMkLst>
          <pc:docMk/>
          <pc:sldMk cId="310617772" sldId="357"/>
        </pc:sldMkLst>
        <pc:spChg chg="mod ord">
          <ac:chgData name="Jobst, Hanna" userId="e86661fe-1388-4b75-a8f7-53b9f30bf181" providerId="ADAL" clId="{29F3D02E-F93C-B749-9795-12541735712D}" dt="2024-01-11T18:33:50.722" v="450" actId="700"/>
          <ac:spMkLst>
            <pc:docMk/>
            <pc:sldMk cId="310617772" sldId="357"/>
            <ac:spMk id="2" creationId="{E783DCD0-5EBA-FDA0-3C85-771616BA6C0B}"/>
          </ac:spMkLst>
        </pc:spChg>
        <pc:spChg chg="mod ord">
          <ac:chgData name="Jobst, Hanna" userId="e86661fe-1388-4b75-a8f7-53b9f30bf181" providerId="ADAL" clId="{29F3D02E-F93C-B749-9795-12541735712D}" dt="2024-01-11T18:33:50.722" v="450" actId="700"/>
          <ac:spMkLst>
            <pc:docMk/>
            <pc:sldMk cId="310617772" sldId="357"/>
            <ac:spMk id="3" creationId="{7F150D79-2652-85A4-36C4-FB0874C5F404}"/>
          </ac:spMkLst>
        </pc:spChg>
        <pc:spChg chg="mod ord">
          <ac:chgData name="Jobst, Hanna" userId="e86661fe-1388-4b75-a8f7-53b9f30bf181" providerId="ADAL" clId="{29F3D02E-F93C-B749-9795-12541735712D}" dt="2024-01-11T18:33:50.722" v="450" actId="700"/>
          <ac:spMkLst>
            <pc:docMk/>
            <pc:sldMk cId="310617772" sldId="357"/>
            <ac:spMk id="4" creationId="{6F032C2A-BC54-FD17-897A-24EB45927754}"/>
          </ac:spMkLst>
        </pc:spChg>
        <pc:spChg chg="add mod ord">
          <ac:chgData name="Jobst, Hanna" userId="e86661fe-1388-4b75-a8f7-53b9f30bf181" providerId="ADAL" clId="{29F3D02E-F93C-B749-9795-12541735712D}" dt="2024-01-11T18:35:41.458" v="534" actId="14100"/>
          <ac:spMkLst>
            <pc:docMk/>
            <pc:sldMk cId="310617772" sldId="357"/>
            <ac:spMk id="5" creationId="{6D269181-9BBF-BC70-6739-9E33F8B61D7E}"/>
          </ac:spMkLst>
        </pc:spChg>
        <pc:spChg chg="mod ord">
          <ac:chgData name="Jobst, Hanna" userId="e86661fe-1388-4b75-a8f7-53b9f30bf181" providerId="ADAL" clId="{29F3D02E-F93C-B749-9795-12541735712D}" dt="2024-01-11T18:33:50.722" v="450" actId="700"/>
          <ac:spMkLst>
            <pc:docMk/>
            <pc:sldMk cId="310617772" sldId="357"/>
            <ac:spMk id="6" creationId="{B2F91D58-FAC4-ADAB-1F11-88D6E7B7C85C}"/>
          </ac:spMkLst>
        </pc:spChg>
        <pc:spChg chg="add mod ord">
          <ac:chgData name="Jobst, Hanna" userId="e86661fe-1388-4b75-a8f7-53b9f30bf181" providerId="ADAL" clId="{29F3D02E-F93C-B749-9795-12541735712D}" dt="2024-01-11T18:35:22.358" v="528" actId="14100"/>
          <ac:spMkLst>
            <pc:docMk/>
            <pc:sldMk cId="310617772" sldId="357"/>
            <ac:spMk id="7" creationId="{4C70E9F2-DA72-A5BE-DC95-26B74D8F428C}"/>
          </ac:spMkLst>
        </pc:spChg>
        <pc:spChg chg="add mod">
          <ac:chgData name="Jobst, Hanna" userId="e86661fe-1388-4b75-a8f7-53b9f30bf181" providerId="ADAL" clId="{29F3D02E-F93C-B749-9795-12541735712D}" dt="2024-01-16T15:29:30.676" v="1423" actId="1076"/>
          <ac:spMkLst>
            <pc:docMk/>
            <pc:sldMk cId="310617772" sldId="357"/>
            <ac:spMk id="8" creationId="{8FD5D1E2-A5A8-1276-218E-4C424A8C43A7}"/>
          </ac:spMkLst>
        </pc:spChg>
        <pc:spChg chg="del mod ord">
          <ac:chgData name="Jobst, Hanna" userId="e86661fe-1388-4b75-a8f7-53b9f30bf181" providerId="ADAL" clId="{29F3D02E-F93C-B749-9795-12541735712D}" dt="2024-01-11T18:33:50.722" v="450" actId="700"/>
          <ac:spMkLst>
            <pc:docMk/>
            <pc:sldMk cId="310617772" sldId="357"/>
            <ac:spMk id="8" creationId="{9E913F5F-80E9-7079-2990-BC6D93CAE233}"/>
          </ac:spMkLst>
        </pc:spChg>
        <pc:spChg chg="mod ord">
          <ac:chgData name="Jobst, Hanna" userId="e86661fe-1388-4b75-a8f7-53b9f30bf181" providerId="ADAL" clId="{29F3D02E-F93C-B749-9795-12541735712D}" dt="2024-01-11T18:35:44.841" v="535" actId="14100"/>
          <ac:spMkLst>
            <pc:docMk/>
            <pc:sldMk cId="310617772" sldId="357"/>
            <ac:spMk id="9" creationId="{78F3A41D-DCDE-0008-645C-BAC43680A794}"/>
          </ac:spMkLst>
        </pc:spChg>
        <pc:spChg chg="add mod ord">
          <ac:chgData name="Jobst, Hanna" userId="e86661fe-1388-4b75-a8f7-53b9f30bf181" providerId="ADAL" clId="{29F3D02E-F93C-B749-9795-12541735712D}" dt="2024-01-11T18:35:26.041" v="529" actId="14100"/>
          <ac:spMkLst>
            <pc:docMk/>
            <pc:sldMk cId="310617772" sldId="357"/>
            <ac:spMk id="11" creationId="{BE6EC568-8119-8EBB-011C-F292525CFBF9}"/>
          </ac:spMkLst>
        </pc:spChg>
        <pc:spChg chg="add mod">
          <ac:chgData name="Jobst, Hanna" userId="e86661fe-1388-4b75-a8f7-53b9f30bf181" providerId="ADAL" clId="{29F3D02E-F93C-B749-9795-12541735712D}" dt="2024-01-16T15:29:36.126" v="1424" actId="1076"/>
          <ac:spMkLst>
            <pc:docMk/>
            <pc:sldMk cId="310617772" sldId="357"/>
            <ac:spMk id="12" creationId="{6A4F9151-30DD-E5AB-C83C-819CF0C636F1}"/>
          </ac:spMkLst>
        </pc:spChg>
        <pc:spChg chg="add mod">
          <ac:chgData name="Jobst, Hanna" userId="e86661fe-1388-4b75-a8f7-53b9f30bf181" providerId="ADAL" clId="{29F3D02E-F93C-B749-9795-12541735712D}" dt="2024-01-16T15:29:25.198" v="1421" actId="1076"/>
          <ac:spMkLst>
            <pc:docMk/>
            <pc:sldMk cId="310617772" sldId="357"/>
            <ac:spMk id="13" creationId="{A8AF4617-65BB-2609-594E-3C304937FC9B}"/>
          </ac:spMkLst>
        </pc:spChg>
        <pc:spChg chg="add mod ord">
          <ac:chgData name="Jobst, Hanna" userId="e86661fe-1388-4b75-a8f7-53b9f30bf181" providerId="ADAL" clId="{29F3D02E-F93C-B749-9795-12541735712D}" dt="2024-01-11T18:35:31.924" v="531" actId="14100"/>
          <ac:spMkLst>
            <pc:docMk/>
            <pc:sldMk cId="310617772" sldId="357"/>
            <ac:spMk id="14" creationId="{268AE1F7-8D9D-A4A3-A796-4941255878FD}"/>
          </ac:spMkLst>
        </pc:spChg>
        <pc:spChg chg="add mod ord">
          <ac:chgData name="Jobst, Hanna" userId="e86661fe-1388-4b75-a8f7-53b9f30bf181" providerId="ADAL" clId="{29F3D02E-F93C-B749-9795-12541735712D}" dt="2024-01-11T18:35:38.341" v="533" actId="14100"/>
          <ac:spMkLst>
            <pc:docMk/>
            <pc:sldMk cId="310617772" sldId="357"/>
            <ac:spMk id="15" creationId="{6E9FE2E7-98BF-CBDE-B416-F8B93B02C2D3}"/>
          </ac:spMkLst>
        </pc:spChg>
        <pc:spChg chg="add mod ord">
          <ac:chgData name="Jobst, Hanna" userId="e86661fe-1388-4b75-a8f7-53b9f30bf181" providerId="ADAL" clId="{29F3D02E-F93C-B749-9795-12541735712D}" dt="2024-01-11T18:34:26.568" v="468" actId="20577"/>
          <ac:spMkLst>
            <pc:docMk/>
            <pc:sldMk cId="310617772" sldId="357"/>
            <ac:spMk id="16" creationId="{CE135374-FDB0-4612-21C9-43BB1C5F8308}"/>
          </ac:spMkLst>
        </pc:spChg>
        <pc:spChg chg="add mod ord">
          <ac:chgData name="Jobst, Hanna" userId="e86661fe-1388-4b75-a8f7-53b9f30bf181" providerId="ADAL" clId="{29F3D02E-F93C-B749-9795-12541735712D}" dt="2024-01-11T18:33:50.722" v="450" actId="700"/>
          <ac:spMkLst>
            <pc:docMk/>
            <pc:sldMk cId="310617772" sldId="357"/>
            <ac:spMk id="17" creationId="{B549EC02-F59E-22E5-F9CA-807D0C81B9B9}"/>
          </ac:spMkLst>
        </pc:spChg>
        <pc:spChg chg="add mod">
          <ac:chgData name="Jobst, Hanna" userId="e86661fe-1388-4b75-a8f7-53b9f30bf181" providerId="ADAL" clId="{29F3D02E-F93C-B749-9795-12541735712D}" dt="2024-01-16T14:36:37.904" v="1174" actId="1076"/>
          <ac:spMkLst>
            <pc:docMk/>
            <pc:sldMk cId="310617772" sldId="357"/>
            <ac:spMk id="18" creationId="{32DD6764-7DC7-532D-4E7D-2DEE9FBC4C8E}"/>
          </ac:spMkLst>
        </pc:spChg>
        <pc:spChg chg="add mod">
          <ac:chgData name="Jobst, Hanna" userId="e86661fe-1388-4b75-a8f7-53b9f30bf181" providerId="ADAL" clId="{29F3D02E-F93C-B749-9795-12541735712D}" dt="2024-01-16T14:39:37.443" v="1322" actId="1076"/>
          <ac:spMkLst>
            <pc:docMk/>
            <pc:sldMk cId="310617772" sldId="357"/>
            <ac:spMk id="19" creationId="{D3191BAF-1D54-5704-90FE-C4984C6C2934}"/>
          </ac:spMkLst>
        </pc:spChg>
        <pc:spChg chg="add mod">
          <ac:chgData name="Jobst, Hanna" userId="e86661fe-1388-4b75-a8f7-53b9f30bf181" providerId="ADAL" clId="{29F3D02E-F93C-B749-9795-12541735712D}" dt="2024-01-16T14:34:46.973" v="1060" actId="1076"/>
          <ac:spMkLst>
            <pc:docMk/>
            <pc:sldMk cId="310617772" sldId="357"/>
            <ac:spMk id="20" creationId="{6C29BD41-6504-0E8E-45E9-B12630EDD64D}"/>
          </ac:spMkLst>
        </pc:spChg>
        <pc:spChg chg="add mod">
          <ac:chgData name="Jobst, Hanna" userId="e86661fe-1388-4b75-a8f7-53b9f30bf181" providerId="ADAL" clId="{29F3D02E-F93C-B749-9795-12541735712D}" dt="2024-01-16T14:38:49.411" v="1279" actId="20577"/>
          <ac:spMkLst>
            <pc:docMk/>
            <pc:sldMk cId="310617772" sldId="357"/>
            <ac:spMk id="21" creationId="{6C3F79C3-A2AE-99F4-E359-534C234FB35D}"/>
          </ac:spMkLst>
        </pc:spChg>
        <pc:spChg chg="add mod">
          <ac:chgData name="Jobst, Hanna" userId="e86661fe-1388-4b75-a8f7-53b9f30bf181" providerId="ADAL" clId="{29F3D02E-F93C-B749-9795-12541735712D}" dt="2024-01-16T14:38:30.185" v="1257" actId="20577"/>
          <ac:spMkLst>
            <pc:docMk/>
            <pc:sldMk cId="310617772" sldId="357"/>
            <ac:spMk id="22" creationId="{49B69B2B-B7A2-E96E-0A03-4E81EFA52628}"/>
          </ac:spMkLst>
        </pc:spChg>
        <pc:spChg chg="add mod">
          <ac:chgData name="Jobst, Hanna" userId="e86661fe-1388-4b75-a8f7-53b9f30bf181" providerId="ADAL" clId="{29F3D02E-F93C-B749-9795-12541735712D}" dt="2024-01-16T14:38:23.046" v="1243" actId="20577"/>
          <ac:spMkLst>
            <pc:docMk/>
            <pc:sldMk cId="310617772" sldId="357"/>
            <ac:spMk id="23" creationId="{C43363AE-BB4A-1A81-E993-10000883F81E}"/>
          </ac:spMkLst>
        </pc:spChg>
        <pc:spChg chg="add mod">
          <ac:chgData name="Jobst, Hanna" userId="e86661fe-1388-4b75-a8f7-53b9f30bf181" providerId="ADAL" clId="{29F3D02E-F93C-B749-9795-12541735712D}" dt="2024-01-16T14:39:07.695" v="1310" actId="20577"/>
          <ac:spMkLst>
            <pc:docMk/>
            <pc:sldMk cId="310617772" sldId="357"/>
            <ac:spMk id="24" creationId="{A4B52AEA-C662-7D65-4511-801FC31C35A3}"/>
          </ac:spMkLst>
        </pc:spChg>
        <pc:spChg chg="add mod">
          <ac:chgData name="Jobst, Hanna" userId="e86661fe-1388-4b75-a8f7-53b9f30bf181" providerId="ADAL" clId="{29F3D02E-F93C-B749-9795-12541735712D}" dt="2024-01-16T14:42:00.213" v="1415" actId="1076"/>
          <ac:spMkLst>
            <pc:docMk/>
            <pc:sldMk cId="310617772" sldId="357"/>
            <ac:spMk id="25" creationId="{96111BED-DB23-03BD-7FA4-62C6CEBD742F}"/>
          </ac:spMkLst>
        </pc:spChg>
        <pc:spChg chg="add mod">
          <ac:chgData name="Jobst, Hanna" userId="e86661fe-1388-4b75-a8f7-53b9f30bf181" providerId="ADAL" clId="{29F3D02E-F93C-B749-9795-12541735712D}" dt="2024-01-16T14:39:56.376" v="1356" actId="20577"/>
          <ac:spMkLst>
            <pc:docMk/>
            <pc:sldMk cId="310617772" sldId="357"/>
            <ac:spMk id="26" creationId="{54B75BEE-B23D-F4D7-1AB9-6F125148FC1E}"/>
          </ac:spMkLst>
        </pc:spChg>
        <pc:spChg chg="add mod">
          <ac:chgData name="Jobst, Hanna" userId="e86661fe-1388-4b75-a8f7-53b9f30bf181" providerId="ADAL" clId="{29F3D02E-F93C-B749-9795-12541735712D}" dt="2024-01-16T14:40:20.169" v="1378" actId="20577"/>
          <ac:spMkLst>
            <pc:docMk/>
            <pc:sldMk cId="310617772" sldId="357"/>
            <ac:spMk id="27" creationId="{441FD8A6-C34E-410C-CD57-65D820C155AD}"/>
          </ac:spMkLst>
        </pc:spChg>
        <pc:graphicFrameChg chg="del">
          <ac:chgData name="Jobst, Hanna" userId="e86661fe-1388-4b75-a8f7-53b9f30bf181" providerId="ADAL" clId="{29F3D02E-F93C-B749-9795-12541735712D}" dt="2024-01-11T18:33:55.453" v="451" actId="478"/>
          <ac:graphicFrameMkLst>
            <pc:docMk/>
            <pc:sldMk cId="310617772" sldId="357"/>
            <ac:graphicFrameMk id="12" creationId="{CC2CE386-586B-FD89-A16C-9AE9936627C1}"/>
          </ac:graphicFrameMkLst>
        </pc:graphicFrameChg>
        <pc:graphicFrameChg chg="del">
          <ac:chgData name="Jobst, Hanna" userId="e86661fe-1388-4b75-a8f7-53b9f30bf181" providerId="ADAL" clId="{29F3D02E-F93C-B749-9795-12541735712D}" dt="2024-01-11T18:33:57.791" v="452" actId="478"/>
          <ac:graphicFrameMkLst>
            <pc:docMk/>
            <pc:sldMk cId="310617772" sldId="357"/>
            <ac:graphicFrameMk id="13" creationId="{5A0DC75F-535F-8C7B-52E4-2E8FDC7CEDBC}"/>
          </ac:graphicFrameMkLst>
        </pc:graphicFrameChg>
        <pc:graphicFrameChg chg="add mod">
          <ac:chgData name="Jobst, Hanna" userId="e86661fe-1388-4b75-a8f7-53b9f30bf181" providerId="ADAL" clId="{29F3D02E-F93C-B749-9795-12541735712D}" dt="2024-01-11T18:36:24.437" v="536"/>
          <ac:graphicFrameMkLst>
            <pc:docMk/>
            <pc:sldMk cId="310617772" sldId="357"/>
            <ac:graphicFrameMk id="18" creationId="{0B50A758-B5C5-204E-E64D-3110A25307CD}"/>
          </ac:graphicFrameMkLst>
        </pc:graphicFrameChg>
        <pc:graphicFrameChg chg="add mod">
          <ac:chgData name="Jobst, Hanna" userId="e86661fe-1388-4b75-a8f7-53b9f30bf181" providerId="ADAL" clId="{29F3D02E-F93C-B749-9795-12541735712D}" dt="2024-01-11T18:36:37.230" v="537"/>
          <ac:graphicFrameMkLst>
            <pc:docMk/>
            <pc:sldMk cId="310617772" sldId="357"/>
            <ac:graphicFrameMk id="19" creationId="{2273197D-E0B1-B04A-FB88-F2D688FD5089}"/>
          </ac:graphicFrameMkLst>
        </pc:graphicFrameChg>
      </pc:sldChg>
      <pc:sldChg chg="modSp mod">
        <pc:chgData name="Jobst, Hanna" userId="e86661fe-1388-4b75-a8f7-53b9f30bf181" providerId="ADAL" clId="{29F3D02E-F93C-B749-9795-12541735712D}" dt="2024-01-16T12:54:07.321" v="574" actId="108"/>
        <pc:sldMkLst>
          <pc:docMk/>
          <pc:sldMk cId="218260472" sldId="358"/>
        </pc:sldMkLst>
        <pc:spChg chg="mod">
          <ac:chgData name="Jobst, Hanna" userId="e86661fe-1388-4b75-a8f7-53b9f30bf181" providerId="ADAL" clId="{29F3D02E-F93C-B749-9795-12541735712D}" dt="2024-01-16T12:54:07.321" v="574" actId="108"/>
          <ac:spMkLst>
            <pc:docMk/>
            <pc:sldMk cId="218260472" sldId="358"/>
            <ac:spMk id="20" creationId="{0C05BAD9-10FE-AC62-3E9D-1888AABF0DE4}"/>
          </ac:spMkLst>
        </pc:spChg>
      </pc:sldChg>
      <pc:sldChg chg="modSp mod">
        <pc:chgData name="Jobst, Hanna" userId="e86661fe-1388-4b75-a8f7-53b9f30bf181" providerId="ADAL" clId="{29F3D02E-F93C-B749-9795-12541735712D}" dt="2024-01-16T12:53:57.004" v="573" actId="108"/>
        <pc:sldMkLst>
          <pc:docMk/>
          <pc:sldMk cId="1255631191" sldId="359"/>
        </pc:sldMkLst>
        <pc:spChg chg="mod">
          <ac:chgData name="Jobst, Hanna" userId="e86661fe-1388-4b75-a8f7-53b9f30bf181" providerId="ADAL" clId="{29F3D02E-F93C-B749-9795-12541735712D}" dt="2024-01-16T12:53:26.436" v="570" actId="108"/>
          <ac:spMkLst>
            <pc:docMk/>
            <pc:sldMk cId="1255631191" sldId="359"/>
            <ac:spMk id="10" creationId="{D5FAA0D7-ABA2-2F07-3721-39F714F588C7}"/>
          </ac:spMkLst>
        </pc:spChg>
        <pc:spChg chg="mod">
          <ac:chgData name="Jobst, Hanna" userId="e86661fe-1388-4b75-a8f7-53b9f30bf181" providerId="ADAL" clId="{29F3D02E-F93C-B749-9795-12541735712D}" dt="2024-01-16T12:53:57.004" v="573" actId="108"/>
          <ac:spMkLst>
            <pc:docMk/>
            <pc:sldMk cId="1255631191" sldId="359"/>
            <ac:spMk id="20" creationId="{0C05BAD9-10FE-AC62-3E9D-1888AABF0DE4}"/>
          </ac:spMkLst>
        </pc:spChg>
      </pc:sldChg>
      <pc:sldChg chg="addSp delSp modSp add mod">
        <pc:chgData name="Jobst, Hanna" userId="e86661fe-1388-4b75-a8f7-53b9f30bf181" providerId="ADAL" clId="{29F3D02E-F93C-B749-9795-12541735712D}" dt="2024-01-16T14:28:18.375" v="975" actId="20577"/>
        <pc:sldMkLst>
          <pc:docMk/>
          <pc:sldMk cId="3863385461" sldId="361"/>
        </pc:sldMkLst>
        <pc:spChg chg="del mod">
          <ac:chgData name="Jobst, Hanna" userId="e86661fe-1388-4b75-a8f7-53b9f30bf181" providerId="ADAL" clId="{29F3D02E-F93C-B749-9795-12541735712D}" dt="2024-01-16T14:26:08.634" v="957"/>
          <ac:spMkLst>
            <pc:docMk/>
            <pc:sldMk cId="3863385461" sldId="361"/>
            <ac:spMk id="5" creationId="{6A962568-18E6-A1C1-002C-F0DCB4531BC6}"/>
          </ac:spMkLst>
        </pc:spChg>
        <pc:spChg chg="add mod">
          <ac:chgData name="Jobst, Hanna" userId="e86661fe-1388-4b75-a8f7-53b9f30bf181" providerId="ADAL" clId="{29F3D02E-F93C-B749-9795-12541735712D}" dt="2024-01-16T14:28:18.375" v="975" actId="20577"/>
          <ac:spMkLst>
            <pc:docMk/>
            <pc:sldMk cId="3863385461" sldId="361"/>
            <ac:spMk id="10" creationId="{A91DE2F0-A8E9-7889-987A-E201C48FEFFA}"/>
          </ac:spMkLst>
        </pc:spChg>
      </pc:sldChg>
      <pc:sldChg chg="add del">
        <pc:chgData name="Jobst, Hanna" userId="e86661fe-1388-4b75-a8f7-53b9f30bf181" providerId="ADAL" clId="{29F3D02E-F93C-B749-9795-12541735712D}" dt="2024-01-16T14:28:04.730" v="973" actId="2696"/>
        <pc:sldMkLst>
          <pc:docMk/>
          <pc:sldMk cId="3312258165" sldId="362"/>
        </pc:sldMkLst>
      </pc:sldChg>
      <pc:sldChg chg="modSp add mod">
        <pc:chgData name="Jobst, Hanna" userId="e86661fe-1388-4b75-a8f7-53b9f30bf181" providerId="ADAL" clId="{29F3D02E-F93C-B749-9795-12541735712D}" dt="2024-01-16T14:27:57.844" v="972"/>
        <pc:sldMkLst>
          <pc:docMk/>
          <pc:sldMk cId="1994662312" sldId="363"/>
        </pc:sldMkLst>
        <pc:spChg chg="mod">
          <ac:chgData name="Jobst, Hanna" userId="e86661fe-1388-4b75-a8f7-53b9f30bf181" providerId="ADAL" clId="{29F3D02E-F93C-B749-9795-12541735712D}" dt="2024-01-16T14:27:57.844" v="972"/>
          <ac:spMkLst>
            <pc:docMk/>
            <pc:sldMk cId="1994662312" sldId="363"/>
            <ac:spMk id="10" creationId="{A91DE2F0-A8E9-7889-987A-E201C48FEFFA}"/>
          </ac:spMkLst>
        </pc:spChg>
      </pc:sldChg>
    </pc:docChg>
  </pc:docChgLst>
  <pc:docChgLst>
    <pc:chgData name="Fourati, Omar" userId="S::oz48ohuv@fauad.fau.de::543b926d-baf3-4e4d-861e-19746c37446c" providerId="AD" clId="Web-{7F9C64D8-8C5F-C708-D237-F3531F953FB4}"/>
    <pc:docChg chg="addSld delSld modSld">
      <pc:chgData name="Fourati, Omar" userId="S::oz48ohuv@fauad.fau.de::543b926d-baf3-4e4d-861e-19746c37446c" providerId="AD" clId="Web-{7F9C64D8-8C5F-C708-D237-F3531F953FB4}" dt="2024-01-14T17:26:17.705" v="350" actId="20577"/>
      <pc:docMkLst>
        <pc:docMk/>
      </pc:docMkLst>
      <pc:sldChg chg="addSp delSp modSp">
        <pc:chgData name="Fourati, Omar" userId="S::oz48ohuv@fauad.fau.de::543b926d-baf3-4e4d-861e-19746c37446c" providerId="AD" clId="Web-{7F9C64D8-8C5F-C708-D237-F3531F953FB4}" dt="2024-01-14T17:26:17.705" v="350" actId="20577"/>
        <pc:sldMkLst>
          <pc:docMk/>
          <pc:sldMk cId="1217021714" sldId="348"/>
        </pc:sldMkLst>
        <pc:spChg chg="mod">
          <ac:chgData name="Fourati, Omar" userId="S::oz48ohuv@fauad.fau.de::543b926d-baf3-4e4d-861e-19746c37446c" providerId="AD" clId="Web-{7F9C64D8-8C5F-C708-D237-F3531F953FB4}" dt="2024-01-14T17:03:59.610" v="37" actId="20577"/>
          <ac:spMkLst>
            <pc:docMk/>
            <pc:sldMk cId="1217021714" sldId="348"/>
            <ac:spMk id="9" creationId="{0ED64B88-5358-0B9B-4F5B-31B27ED086B9}"/>
          </ac:spMkLst>
        </pc:spChg>
        <pc:spChg chg="del">
          <ac:chgData name="Fourati, Omar" userId="S::oz48ohuv@fauad.fau.de::543b926d-baf3-4e4d-861e-19746c37446c" providerId="AD" clId="Web-{7F9C64D8-8C5F-C708-D237-F3531F953FB4}" dt="2024-01-14T17:04:07.329" v="39"/>
          <ac:spMkLst>
            <pc:docMk/>
            <pc:sldMk cId="1217021714" sldId="348"/>
            <ac:spMk id="10" creationId="{21DCD3CD-96A5-EB8B-A28A-2A6A4385AB39}"/>
          </ac:spMkLst>
        </pc:spChg>
        <pc:spChg chg="add del mod">
          <ac:chgData name="Fourati, Omar" userId="S::oz48ohuv@fauad.fau.de::543b926d-baf3-4e4d-861e-19746c37446c" providerId="AD" clId="Web-{7F9C64D8-8C5F-C708-D237-F3531F953FB4}" dt="2024-01-14T17:04:46.096" v="48"/>
          <ac:spMkLst>
            <pc:docMk/>
            <pc:sldMk cId="1217021714" sldId="348"/>
            <ac:spMk id="15" creationId="{77A29CDD-132A-61DF-58CA-E36BB28D261F}"/>
          </ac:spMkLst>
        </pc:spChg>
        <pc:spChg chg="add del mod">
          <ac:chgData name="Fourati, Omar" userId="S::oz48ohuv@fauad.fau.de::543b926d-baf3-4e4d-861e-19746c37446c" providerId="AD" clId="Web-{7F9C64D8-8C5F-C708-D237-F3531F953FB4}" dt="2024-01-14T17:04:40.799" v="47"/>
          <ac:spMkLst>
            <pc:docMk/>
            <pc:sldMk cId="1217021714" sldId="348"/>
            <ac:spMk id="16" creationId="{495C38F2-C479-42C9-EADE-139672A62A02}"/>
          </ac:spMkLst>
        </pc:spChg>
        <pc:spChg chg="add del mod">
          <ac:chgData name="Fourati, Omar" userId="S::oz48ohuv@fauad.fau.de::543b926d-baf3-4e4d-861e-19746c37446c" providerId="AD" clId="Web-{7F9C64D8-8C5F-C708-D237-F3531F953FB4}" dt="2024-01-14T17:04:55.409" v="55"/>
          <ac:spMkLst>
            <pc:docMk/>
            <pc:sldMk cId="1217021714" sldId="348"/>
            <ac:spMk id="17" creationId="{E8B6CF23-15BE-548E-D4D7-E643214E8A83}"/>
          </ac:spMkLst>
        </pc:spChg>
        <pc:spChg chg="mod">
          <ac:chgData name="Fourati, Omar" userId="S::oz48ohuv@fauad.fau.de::543b926d-baf3-4e4d-861e-19746c37446c" providerId="AD" clId="Web-{7F9C64D8-8C5F-C708-D237-F3531F953FB4}" dt="2024-01-14T17:04:00.735" v="38" actId="20577"/>
          <ac:spMkLst>
            <pc:docMk/>
            <pc:sldMk cId="1217021714" sldId="348"/>
            <ac:spMk id="18" creationId="{6F49445C-907F-F8FF-A389-DEDC16BC4D7F}"/>
          </ac:spMkLst>
        </pc:spChg>
        <pc:spChg chg="add del mod">
          <ac:chgData name="Fourati, Omar" userId="S::oz48ohuv@fauad.fau.de::543b926d-baf3-4e4d-861e-19746c37446c" providerId="AD" clId="Web-{7F9C64D8-8C5F-C708-D237-F3531F953FB4}" dt="2024-01-14T17:04:52.253" v="53"/>
          <ac:spMkLst>
            <pc:docMk/>
            <pc:sldMk cId="1217021714" sldId="348"/>
            <ac:spMk id="19" creationId="{B7705148-D447-B00F-BCC0-102B81CA8974}"/>
          </ac:spMkLst>
        </pc:spChg>
        <pc:spChg chg="del">
          <ac:chgData name="Fourati, Omar" userId="S::oz48ohuv@fauad.fau.de::543b926d-baf3-4e4d-861e-19746c37446c" providerId="AD" clId="Web-{7F9C64D8-8C5F-C708-D237-F3531F953FB4}" dt="2024-01-14T17:04:56.846" v="56"/>
          <ac:spMkLst>
            <pc:docMk/>
            <pc:sldMk cId="1217021714" sldId="348"/>
            <ac:spMk id="23" creationId="{4BC5BF79-3455-C794-EEFB-1E5C69703B08}"/>
          </ac:spMkLst>
        </pc:spChg>
        <pc:spChg chg="add mod">
          <ac:chgData name="Fourati, Omar" userId="S::oz48ohuv@fauad.fau.de::543b926d-baf3-4e4d-861e-19746c37446c" providerId="AD" clId="Web-{7F9C64D8-8C5F-C708-D237-F3531F953FB4}" dt="2024-01-14T17:20:44.005" v="338" actId="1076"/>
          <ac:spMkLst>
            <pc:docMk/>
            <pc:sldMk cId="1217021714" sldId="348"/>
            <ac:spMk id="27" creationId="{892AC8B2-E6F1-15E7-0A5F-DAD1756539DF}"/>
          </ac:spMkLst>
        </pc:spChg>
        <pc:spChg chg="add del mod">
          <ac:chgData name="Fourati, Omar" userId="S::oz48ohuv@fauad.fau.de::543b926d-baf3-4e4d-861e-19746c37446c" providerId="AD" clId="Web-{7F9C64D8-8C5F-C708-D237-F3531F953FB4}" dt="2024-01-14T17:08:50.917" v="122"/>
          <ac:spMkLst>
            <pc:docMk/>
            <pc:sldMk cId="1217021714" sldId="348"/>
            <ac:spMk id="28" creationId="{66DC6EB8-51EF-CDCC-2DD3-1C23BAAA6AA8}"/>
          </ac:spMkLst>
        </pc:spChg>
        <pc:spChg chg="add del mod">
          <ac:chgData name="Fourati, Omar" userId="S::oz48ohuv@fauad.fau.de::543b926d-baf3-4e4d-861e-19746c37446c" providerId="AD" clId="Web-{7F9C64D8-8C5F-C708-D237-F3531F953FB4}" dt="2024-01-14T17:08:45.995" v="119"/>
          <ac:spMkLst>
            <pc:docMk/>
            <pc:sldMk cId="1217021714" sldId="348"/>
            <ac:spMk id="29" creationId="{E5AF69BA-D157-E2F3-98C9-FA4EE7568F68}"/>
          </ac:spMkLst>
        </pc:spChg>
        <pc:spChg chg="add del mod">
          <ac:chgData name="Fourati, Omar" userId="S::oz48ohuv@fauad.fau.de::543b926d-baf3-4e4d-861e-19746c37446c" providerId="AD" clId="Web-{7F9C64D8-8C5F-C708-D237-F3531F953FB4}" dt="2024-01-14T17:09:41.763" v="146"/>
          <ac:spMkLst>
            <pc:docMk/>
            <pc:sldMk cId="1217021714" sldId="348"/>
            <ac:spMk id="31" creationId="{4CD648FD-C993-440F-D926-34D4E4D10B6E}"/>
          </ac:spMkLst>
        </pc:spChg>
        <pc:spChg chg="add mod">
          <ac:chgData name="Fourati, Omar" userId="S::oz48ohuv@fauad.fau.de::543b926d-baf3-4e4d-861e-19746c37446c" providerId="AD" clId="Web-{7F9C64D8-8C5F-C708-D237-F3531F953FB4}" dt="2024-01-14T17:26:15.376" v="349" actId="20577"/>
          <ac:spMkLst>
            <pc:docMk/>
            <pc:sldMk cId="1217021714" sldId="348"/>
            <ac:spMk id="32" creationId="{5A21D3F2-EB80-8591-D32A-625D6604AAD1}"/>
          </ac:spMkLst>
        </pc:spChg>
        <pc:spChg chg="add mod">
          <ac:chgData name="Fourati, Omar" userId="S::oz48ohuv@fauad.fau.de::543b926d-baf3-4e4d-861e-19746c37446c" providerId="AD" clId="Web-{7F9C64D8-8C5F-C708-D237-F3531F953FB4}" dt="2024-01-14T17:26:17.705" v="350" actId="20577"/>
          <ac:spMkLst>
            <pc:docMk/>
            <pc:sldMk cId="1217021714" sldId="348"/>
            <ac:spMk id="34" creationId="{108A685F-A808-A930-C29A-ED9C94FB8288}"/>
          </ac:spMkLst>
        </pc:spChg>
        <pc:graphicFrameChg chg="del">
          <ac:chgData name="Fourati, Omar" userId="S::oz48ohuv@fauad.fau.de::543b926d-baf3-4e4d-861e-19746c37446c" providerId="AD" clId="Web-{7F9C64D8-8C5F-C708-D237-F3531F953FB4}" dt="2024-01-14T17:04:07.329" v="40"/>
          <ac:graphicFrameMkLst>
            <pc:docMk/>
            <pc:sldMk cId="1217021714" sldId="348"/>
            <ac:graphicFrameMk id="11" creationId="{C197C0EC-8F93-4ECE-2168-27EAF8E188FD}"/>
          </ac:graphicFrameMkLst>
        </pc:graphicFrameChg>
        <pc:picChg chg="del mod">
          <ac:chgData name="Fourati, Omar" userId="S::oz48ohuv@fauad.fau.de::543b926d-baf3-4e4d-861e-19746c37446c" providerId="AD" clId="Web-{7F9C64D8-8C5F-C708-D237-F3531F953FB4}" dt="2024-01-14T17:04:36.096" v="44"/>
          <ac:picMkLst>
            <pc:docMk/>
            <pc:sldMk cId="1217021714" sldId="348"/>
            <ac:picMk id="20" creationId="{4CA501E4-7AD3-9AD5-2135-A68A64BEB149}"/>
          </ac:picMkLst>
        </pc:picChg>
        <pc:picChg chg="add del mod">
          <ac:chgData name="Fourati, Omar" userId="S::oz48ohuv@fauad.fau.de::543b926d-baf3-4e4d-861e-19746c37446c" providerId="AD" clId="Web-{7F9C64D8-8C5F-C708-D237-F3531F953FB4}" dt="2024-01-14T17:05:20.503" v="59"/>
          <ac:picMkLst>
            <pc:docMk/>
            <pc:sldMk cId="1217021714" sldId="348"/>
            <ac:picMk id="21" creationId="{9641740C-5D08-C1D6-06FA-6E34CF6FEB34}"/>
          </ac:picMkLst>
        </pc:picChg>
        <pc:picChg chg="add del mod">
          <ac:chgData name="Fourati, Omar" userId="S::oz48ohuv@fauad.fau.de::543b926d-baf3-4e4d-861e-19746c37446c" providerId="AD" clId="Web-{7F9C64D8-8C5F-C708-D237-F3531F953FB4}" dt="2024-01-14T17:05:33.082" v="61"/>
          <ac:picMkLst>
            <pc:docMk/>
            <pc:sldMk cId="1217021714" sldId="348"/>
            <ac:picMk id="22" creationId="{4EC6E0C0-4564-EE68-2F8E-3E89D0A084A1}"/>
          </ac:picMkLst>
        </pc:picChg>
        <pc:picChg chg="add mod">
          <ac:chgData name="Fourati, Omar" userId="S::oz48ohuv@fauad.fau.de::543b926d-baf3-4e4d-861e-19746c37446c" providerId="AD" clId="Web-{7F9C64D8-8C5F-C708-D237-F3531F953FB4}" dt="2024-01-14T17:20:39.943" v="337" actId="1076"/>
          <ac:picMkLst>
            <pc:docMk/>
            <pc:sldMk cId="1217021714" sldId="348"/>
            <ac:picMk id="24" creationId="{CFDA0A06-288F-38D5-9CC3-9AC31E742B23}"/>
          </ac:picMkLst>
        </pc:picChg>
        <pc:picChg chg="add del mod">
          <ac:chgData name="Fourati, Omar" userId="S::oz48ohuv@fauad.fau.de::543b926d-baf3-4e4d-861e-19746c37446c" providerId="AD" clId="Web-{7F9C64D8-8C5F-C708-D237-F3531F953FB4}" dt="2024-01-14T17:05:51.036" v="67"/>
          <ac:picMkLst>
            <pc:docMk/>
            <pc:sldMk cId="1217021714" sldId="348"/>
            <ac:picMk id="25" creationId="{455D7F0B-D176-CAA7-82AB-7DFB788F1374}"/>
          </ac:picMkLst>
        </pc:picChg>
        <pc:picChg chg="add mod">
          <ac:chgData name="Fourati, Omar" userId="S::oz48ohuv@fauad.fau.de::543b926d-baf3-4e4d-861e-19746c37446c" providerId="AD" clId="Web-{7F9C64D8-8C5F-C708-D237-F3531F953FB4}" dt="2024-01-14T17:20:54.677" v="341" actId="1076"/>
          <ac:picMkLst>
            <pc:docMk/>
            <pc:sldMk cId="1217021714" sldId="348"/>
            <ac:picMk id="30" creationId="{C728B0BA-08FC-42A6-A10A-CA7ACF3F0178}"/>
          </ac:picMkLst>
        </pc:picChg>
        <pc:picChg chg="add mod">
          <ac:chgData name="Fourati, Omar" userId="S::oz48ohuv@fauad.fau.de::543b926d-baf3-4e4d-861e-19746c37446c" providerId="AD" clId="Web-{7F9C64D8-8C5F-C708-D237-F3531F953FB4}" dt="2024-01-14T17:17:21.576" v="299" actId="1076"/>
          <ac:picMkLst>
            <pc:docMk/>
            <pc:sldMk cId="1217021714" sldId="348"/>
            <ac:picMk id="33" creationId="{619CE57C-B3BC-B004-E717-B1F195263F0D}"/>
          </ac:picMkLst>
        </pc:picChg>
      </pc:sldChg>
      <pc:sldChg chg="add del replId">
        <pc:chgData name="Fourati, Omar" userId="S::oz48ohuv@fauad.fau.de::543b926d-baf3-4e4d-861e-19746c37446c" providerId="AD" clId="Web-{7F9C64D8-8C5F-C708-D237-F3531F953FB4}" dt="2024-01-14T17:09:57.170" v="150"/>
        <pc:sldMkLst>
          <pc:docMk/>
          <pc:sldMk cId="774171751" sldId="361"/>
        </pc:sldMkLst>
      </pc:sldChg>
      <pc:sldChg chg="add del replId">
        <pc:chgData name="Fourati, Omar" userId="S::oz48ohuv@fauad.fau.de::543b926d-baf3-4e4d-861e-19746c37446c" providerId="AD" clId="Web-{7F9C64D8-8C5F-C708-D237-F3531F953FB4}" dt="2024-01-14T17:09:50.138" v="148"/>
        <pc:sldMkLst>
          <pc:docMk/>
          <pc:sldMk cId="3852564236" sldId="361"/>
        </pc:sldMkLst>
      </pc:sldChg>
    </pc:docChg>
  </pc:docChgLst>
  <pc:docChgLst>
    <pc:chgData name="Fourati, Omar" userId="543b926d-baf3-4e4d-861e-19746c37446c" providerId="ADAL" clId="{3E5E39A2-D418-4016-9184-A779729DF69C}"/>
    <pc:docChg chg="undo custSel addSld modSld sldOrd">
      <pc:chgData name="Fourati, Omar" userId="543b926d-baf3-4e4d-861e-19746c37446c" providerId="ADAL" clId="{3E5E39A2-D418-4016-9184-A779729DF69C}" dt="2024-02-06T15:10:01.440" v="1921"/>
      <pc:docMkLst>
        <pc:docMk/>
      </pc:docMkLst>
      <pc:sldChg chg="addSp delSp modSp add mod ord modAnim modNotesTx">
        <pc:chgData name="Fourati, Omar" userId="543b926d-baf3-4e4d-861e-19746c37446c" providerId="ADAL" clId="{3E5E39A2-D418-4016-9184-A779729DF69C}" dt="2024-02-06T13:40:23.676" v="1463"/>
        <pc:sldMkLst>
          <pc:docMk/>
          <pc:sldMk cId="2122025321" sldId="369"/>
        </pc:sldMkLst>
        <pc:spChg chg="del mod">
          <ac:chgData name="Fourati, Omar" userId="543b926d-baf3-4e4d-861e-19746c37446c" providerId="ADAL" clId="{3E5E39A2-D418-4016-9184-A779729DF69C}" dt="2024-02-06T12:51:32.009" v="120" actId="478"/>
          <ac:spMkLst>
            <pc:docMk/>
            <pc:sldMk cId="2122025321" sldId="369"/>
            <ac:spMk id="5" creationId="{BC2FAF4E-62E8-46D9-C16D-BE0F96C58703}"/>
          </ac:spMkLst>
        </pc:spChg>
        <pc:spChg chg="mod">
          <ac:chgData name="Fourati, Omar" userId="543b926d-baf3-4e4d-861e-19746c37446c" providerId="ADAL" clId="{3E5E39A2-D418-4016-9184-A779729DF69C}" dt="2024-02-06T12:46:31.160" v="50" actId="20577"/>
          <ac:spMkLst>
            <pc:docMk/>
            <pc:sldMk cId="2122025321" sldId="369"/>
            <ac:spMk id="6" creationId="{E72D25D9-3CC3-2DAF-FAC8-02BBC484BA69}"/>
          </ac:spMkLst>
        </pc:spChg>
        <pc:spChg chg="mod">
          <ac:chgData name="Fourati, Omar" userId="543b926d-baf3-4e4d-861e-19746c37446c" providerId="ADAL" clId="{3E5E39A2-D418-4016-9184-A779729DF69C}" dt="2024-02-06T13:03:23.682" v="595" actId="20577"/>
          <ac:spMkLst>
            <pc:docMk/>
            <pc:sldMk cId="2122025321" sldId="369"/>
            <ac:spMk id="9" creationId="{1C8FBB84-F183-A109-02AB-62C68BF25A76}"/>
          </ac:spMkLst>
        </pc:spChg>
        <pc:spChg chg="add del mod">
          <ac:chgData name="Fourati, Omar" userId="543b926d-baf3-4e4d-861e-19746c37446c" providerId="ADAL" clId="{3E5E39A2-D418-4016-9184-A779729DF69C}" dt="2024-02-06T12:52:24.289" v="124" actId="478"/>
          <ac:spMkLst>
            <pc:docMk/>
            <pc:sldMk cId="2122025321" sldId="369"/>
            <ac:spMk id="19" creationId="{1177372B-C471-2AA6-1B41-11F48B67B90A}"/>
          </ac:spMkLst>
        </pc:spChg>
        <pc:spChg chg="mod">
          <ac:chgData name="Fourati, Omar" userId="543b926d-baf3-4e4d-861e-19746c37446c" providerId="ADAL" clId="{3E5E39A2-D418-4016-9184-A779729DF69C}" dt="2024-02-06T12:57:39.005" v="197" actId="1076"/>
          <ac:spMkLst>
            <pc:docMk/>
            <pc:sldMk cId="2122025321" sldId="369"/>
            <ac:spMk id="38" creationId="{999A0B20-1D57-13A5-A9D4-B1C79E47E9F6}"/>
          </ac:spMkLst>
        </pc:spChg>
        <pc:spChg chg="mod">
          <ac:chgData name="Fourati, Omar" userId="543b926d-baf3-4e4d-861e-19746c37446c" providerId="ADAL" clId="{3E5E39A2-D418-4016-9184-A779729DF69C}" dt="2024-02-06T12:53:39.658" v="141" actId="1076"/>
          <ac:spMkLst>
            <pc:docMk/>
            <pc:sldMk cId="2122025321" sldId="369"/>
            <ac:spMk id="39" creationId="{BAA1774D-E8DC-AC52-09E2-062CC0636B50}"/>
          </ac:spMkLst>
        </pc:spChg>
        <pc:spChg chg="mod">
          <ac:chgData name="Fourati, Omar" userId="543b926d-baf3-4e4d-861e-19746c37446c" providerId="ADAL" clId="{3E5E39A2-D418-4016-9184-A779729DF69C}" dt="2024-02-06T12:57:33.198" v="196" actId="1037"/>
          <ac:spMkLst>
            <pc:docMk/>
            <pc:sldMk cId="2122025321" sldId="369"/>
            <ac:spMk id="40" creationId="{49BC4301-116E-1D56-6090-80018A9AE819}"/>
          </ac:spMkLst>
        </pc:spChg>
        <pc:picChg chg="add mod">
          <ac:chgData name="Fourati, Omar" userId="543b926d-baf3-4e4d-861e-19746c37446c" providerId="ADAL" clId="{3E5E39A2-D418-4016-9184-A779729DF69C}" dt="2024-02-06T13:05:52.464" v="599"/>
          <ac:picMkLst>
            <pc:docMk/>
            <pc:sldMk cId="2122025321" sldId="369"/>
            <ac:picMk id="10" creationId="{81C4051F-6BDC-AA3C-A473-D5267FA5CE1D}"/>
          </ac:picMkLst>
        </pc:picChg>
        <pc:picChg chg="add del">
          <ac:chgData name="Fourati, Omar" userId="543b926d-baf3-4e4d-861e-19746c37446c" providerId="ADAL" clId="{3E5E39A2-D418-4016-9184-A779729DF69C}" dt="2024-02-06T12:49:05.773" v="65" actId="478"/>
          <ac:picMkLst>
            <pc:docMk/>
            <pc:sldMk cId="2122025321" sldId="369"/>
            <ac:picMk id="13" creationId="{000F1CB0-16C3-028B-B056-1288308A0336}"/>
          </ac:picMkLst>
        </pc:picChg>
        <pc:picChg chg="add del">
          <ac:chgData name="Fourati, Omar" userId="543b926d-baf3-4e4d-861e-19746c37446c" providerId="ADAL" clId="{3E5E39A2-D418-4016-9184-A779729DF69C}" dt="2024-02-06T12:49:15.585" v="67" actId="478"/>
          <ac:picMkLst>
            <pc:docMk/>
            <pc:sldMk cId="2122025321" sldId="369"/>
            <ac:picMk id="15" creationId="{17182ADE-8204-2704-1BE3-A29E0DEF443F}"/>
          </ac:picMkLst>
        </pc:picChg>
        <pc:picChg chg="add mod">
          <ac:chgData name="Fourati, Omar" userId="543b926d-baf3-4e4d-861e-19746c37446c" providerId="ADAL" clId="{3E5E39A2-D418-4016-9184-A779729DF69C}" dt="2024-02-06T13:05:56.726" v="600"/>
          <ac:picMkLst>
            <pc:docMk/>
            <pc:sldMk cId="2122025321" sldId="369"/>
            <ac:picMk id="17" creationId="{0FECAE90-04AC-6919-3DA9-2DD611F16EFC}"/>
          </ac:picMkLst>
        </pc:picChg>
        <pc:picChg chg="add mod">
          <ac:chgData name="Fourati, Omar" userId="543b926d-baf3-4e4d-861e-19746c37446c" providerId="ADAL" clId="{3E5E39A2-D418-4016-9184-A779729DF69C}" dt="2024-02-06T12:57:24.036" v="192" actId="1076"/>
          <ac:picMkLst>
            <pc:docMk/>
            <pc:sldMk cId="2122025321" sldId="369"/>
            <ac:picMk id="20" creationId="{A6C446F5-EF9C-264E-76D0-2626B97254F7}"/>
          </ac:picMkLst>
        </pc:picChg>
        <pc:picChg chg="add del mod">
          <ac:chgData name="Fourati, Omar" userId="543b926d-baf3-4e4d-861e-19746c37446c" providerId="ADAL" clId="{3E5E39A2-D418-4016-9184-A779729DF69C}" dt="2024-02-06T12:53:18.837" v="133" actId="478"/>
          <ac:picMkLst>
            <pc:docMk/>
            <pc:sldMk cId="2122025321" sldId="369"/>
            <ac:picMk id="22" creationId="{95339F51-BA4E-9528-25D7-075E824D3F14}"/>
          </ac:picMkLst>
        </pc:picChg>
        <pc:picChg chg="add mod">
          <ac:chgData name="Fourati, Omar" userId="543b926d-baf3-4e4d-861e-19746c37446c" providerId="ADAL" clId="{3E5E39A2-D418-4016-9184-A779729DF69C}" dt="2024-02-06T12:57:33.198" v="196" actId="1037"/>
          <ac:picMkLst>
            <pc:docMk/>
            <pc:sldMk cId="2122025321" sldId="369"/>
            <ac:picMk id="24" creationId="{D164B41A-CB3E-E589-AC1C-B132AFC5F597}"/>
          </ac:picMkLst>
        </pc:picChg>
        <pc:picChg chg="add mod">
          <ac:chgData name="Fourati, Omar" userId="543b926d-baf3-4e4d-861e-19746c37446c" providerId="ADAL" clId="{3E5E39A2-D418-4016-9184-A779729DF69C}" dt="2024-02-06T13:06:01.713" v="601"/>
          <ac:picMkLst>
            <pc:docMk/>
            <pc:sldMk cId="2122025321" sldId="369"/>
            <ac:picMk id="26" creationId="{54DD2E84-4F41-EABB-83F3-163F6B2AEF5C}"/>
          </ac:picMkLst>
        </pc:picChg>
        <pc:picChg chg="del">
          <ac:chgData name="Fourati, Omar" userId="543b926d-baf3-4e4d-861e-19746c37446c" providerId="ADAL" clId="{3E5E39A2-D418-4016-9184-A779729DF69C}" dt="2024-02-06T12:48:26.797" v="57" actId="478"/>
          <ac:picMkLst>
            <pc:docMk/>
            <pc:sldMk cId="2122025321" sldId="369"/>
            <ac:picMk id="36" creationId="{11A40B3A-FD73-8035-603E-738468A6977C}"/>
          </ac:picMkLst>
        </pc:picChg>
        <pc:picChg chg="del">
          <ac:chgData name="Fourati, Omar" userId="543b926d-baf3-4e4d-861e-19746c37446c" providerId="ADAL" clId="{3E5E39A2-D418-4016-9184-A779729DF69C}" dt="2024-02-06T12:55:39.907" v="158" actId="478"/>
          <ac:picMkLst>
            <pc:docMk/>
            <pc:sldMk cId="2122025321" sldId="369"/>
            <ac:picMk id="37" creationId="{0588C022-B480-D268-69DC-463CE2EA611C}"/>
          </ac:picMkLst>
        </pc:picChg>
        <pc:picChg chg="del">
          <ac:chgData name="Fourati, Omar" userId="543b926d-baf3-4e4d-861e-19746c37446c" providerId="ADAL" clId="{3E5E39A2-D418-4016-9184-A779729DF69C}" dt="2024-02-06T12:49:02.279" v="63" actId="478"/>
          <ac:picMkLst>
            <pc:docMk/>
            <pc:sldMk cId="2122025321" sldId="369"/>
            <ac:picMk id="1026" creationId="{6383020F-86CE-0446-962D-36E4B684FAF0}"/>
          </ac:picMkLst>
        </pc:picChg>
        <pc:picChg chg="add mod">
          <ac:chgData name="Fourati, Omar" userId="543b926d-baf3-4e4d-861e-19746c37446c" providerId="ADAL" clId="{3E5E39A2-D418-4016-9184-A779729DF69C}" dt="2024-02-06T12:59:57.267" v="204" actId="1076"/>
          <ac:picMkLst>
            <pc:docMk/>
            <pc:sldMk cId="2122025321" sldId="369"/>
            <ac:picMk id="1028" creationId="{762D618A-FFD2-0792-7DEE-CFF6DA7E7727}"/>
          </ac:picMkLst>
        </pc:picChg>
      </pc:sldChg>
      <pc:sldChg chg="addSp delSp modSp add mod ord">
        <pc:chgData name="Fourati, Omar" userId="543b926d-baf3-4e4d-861e-19746c37446c" providerId="ADAL" clId="{3E5E39A2-D418-4016-9184-A779729DF69C}" dt="2024-02-06T13:40:48.461" v="1470" actId="20577"/>
        <pc:sldMkLst>
          <pc:docMk/>
          <pc:sldMk cId="3121911503" sldId="372"/>
        </pc:sldMkLst>
        <pc:spChg chg="del">
          <ac:chgData name="Fourati, Omar" userId="543b926d-baf3-4e4d-861e-19746c37446c" providerId="ADAL" clId="{3E5E39A2-D418-4016-9184-A779729DF69C}" dt="2024-02-06T13:10:25.054" v="643" actId="478"/>
          <ac:spMkLst>
            <pc:docMk/>
            <pc:sldMk cId="3121911503" sldId="372"/>
            <ac:spMk id="5" creationId="{BDCD7F0C-B498-9EB3-02E7-216D87AAE8E7}"/>
          </ac:spMkLst>
        </pc:spChg>
        <pc:spChg chg="mod">
          <ac:chgData name="Fourati, Omar" userId="543b926d-baf3-4e4d-861e-19746c37446c" providerId="ADAL" clId="{3E5E39A2-D418-4016-9184-A779729DF69C}" dt="2024-02-06T13:07:21.109" v="622" actId="20577"/>
          <ac:spMkLst>
            <pc:docMk/>
            <pc:sldMk cId="3121911503" sldId="372"/>
            <ac:spMk id="6" creationId="{A7A7615D-2CE4-09EF-591A-61E347348644}"/>
          </ac:spMkLst>
        </pc:spChg>
        <pc:spChg chg="mod">
          <ac:chgData name="Fourati, Omar" userId="543b926d-baf3-4e4d-861e-19746c37446c" providerId="ADAL" clId="{3E5E39A2-D418-4016-9184-A779729DF69C}" dt="2024-02-06T13:07:32.086" v="642" actId="20577"/>
          <ac:spMkLst>
            <pc:docMk/>
            <pc:sldMk cId="3121911503" sldId="372"/>
            <ac:spMk id="9" creationId="{79B5988A-0908-974E-AED1-8F898B02417D}"/>
          </ac:spMkLst>
        </pc:spChg>
        <pc:spChg chg="add del mod">
          <ac:chgData name="Fourati, Omar" userId="543b926d-baf3-4e4d-861e-19746c37446c" providerId="ADAL" clId="{3E5E39A2-D418-4016-9184-A779729DF69C}" dt="2024-02-06T13:10:27.579" v="644" actId="478"/>
          <ac:spMkLst>
            <pc:docMk/>
            <pc:sldMk cId="3121911503" sldId="372"/>
            <ac:spMk id="10" creationId="{709DE3B8-B81A-008F-7497-223694230424}"/>
          </ac:spMkLst>
        </pc:spChg>
        <pc:spChg chg="add mod">
          <ac:chgData name="Fourati, Omar" userId="543b926d-baf3-4e4d-861e-19746c37446c" providerId="ADAL" clId="{3E5E39A2-D418-4016-9184-A779729DF69C}" dt="2024-02-06T13:11:52.941" v="720" actId="207"/>
          <ac:spMkLst>
            <pc:docMk/>
            <pc:sldMk cId="3121911503" sldId="372"/>
            <ac:spMk id="12" creationId="{6541999B-8DAA-85E2-6AAA-7D61BF7A7B21}"/>
          </ac:spMkLst>
        </pc:spChg>
        <pc:spChg chg="add mod">
          <ac:chgData name="Fourati, Omar" userId="543b926d-baf3-4e4d-861e-19746c37446c" providerId="ADAL" clId="{3E5E39A2-D418-4016-9184-A779729DF69C}" dt="2024-02-06T13:26:14.477" v="1010" actId="207"/>
          <ac:spMkLst>
            <pc:docMk/>
            <pc:sldMk cId="3121911503" sldId="372"/>
            <ac:spMk id="13" creationId="{22D8678A-E83C-272B-9D72-3B63EB395FD9}"/>
          </ac:spMkLst>
        </pc:spChg>
        <pc:spChg chg="add mod">
          <ac:chgData name="Fourati, Omar" userId="543b926d-baf3-4e4d-861e-19746c37446c" providerId="ADAL" clId="{3E5E39A2-D418-4016-9184-A779729DF69C}" dt="2024-02-06T13:26:14.477" v="1010" actId="207"/>
          <ac:spMkLst>
            <pc:docMk/>
            <pc:sldMk cId="3121911503" sldId="372"/>
            <ac:spMk id="14" creationId="{76EB721B-5509-4B92-FDBE-BA16927B7D71}"/>
          </ac:spMkLst>
        </pc:spChg>
        <pc:spChg chg="add mod">
          <ac:chgData name="Fourati, Omar" userId="543b926d-baf3-4e4d-861e-19746c37446c" providerId="ADAL" clId="{3E5E39A2-D418-4016-9184-A779729DF69C}" dt="2024-02-06T13:26:14.477" v="1010" actId="207"/>
          <ac:spMkLst>
            <pc:docMk/>
            <pc:sldMk cId="3121911503" sldId="372"/>
            <ac:spMk id="15" creationId="{8F3CBC10-133E-636C-902E-34F3A6F22FE5}"/>
          </ac:spMkLst>
        </pc:spChg>
        <pc:spChg chg="add del mod">
          <ac:chgData name="Fourati, Omar" userId="543b926d-baf3-4e4d-861e-19746c37446c" providerId="ADAL" clId="{3E5E39A2-D418-4016-9184-A779729DF69C}" dt="2024-02-06T13:22:07.249" v="988" actId="478"/>
          <ac:spMkLst>
            <pc:docMk/>
            <pc:sldMk cId="3121911503" sldId="372"/>
            <ac:spMk id="16" creationId="{CDA0E30A-9595-C0BF-5692-1ADD30901491}"/>
          </ac:spMkLst>
        </pc:spChg>
        <pc:spChg chg="add mod">
          <ac:chgData name="Fourati, Omar" userId="543b926d-baf3-4e4d-861e-19746c37446c" providerId="ADAL" clId="{3E5E39A2-D418-4016-9184-A779729DF69C}" dt="2024-02-06T13:38:39.583" v="1327" actId="20577"/>
          <ac:spMkLst>
            <pc:docMk/>
            <pc:sldMk cId="3121911503" sldId="372"/>
            <ac:spMk id="19" creationId="{DA5B5807-D164-B318-53B3-8173213648E0}"/>
          </ac:spMkLst>
        </pc:spChg>
        <pc:spChg chg="add mod">
          <ac:chgData name="Fourati, Omar" userId="543b926d-baf3-4e4d-861e-19746c37446c" providerId="ADAL" clId="{3E5E39A2-D418-4016-9184-A779729DF69C}" dt="2024-02-06T13:40:48.461" v="1470" actId="20577"/>
          <ac:spMkLst>
            <pc:docMk/>
            <pc:sldMk cId="3121911503" sldId="372"/>
            <ac:spMk id="22" creationId="{50035ADF-966D-4881-DDF2-8D70A8359CA4}"/>
          </ac:spMkLst>
        </pc:spChg>
        <pc:spChg chg="del">
          <ac:chgData name="Fourati, Omar" userId="543b926d-baf3-4e4d-861e-19746c37446c" providerId="ADAL" clId="{3E5E39A2-D418-4016-9184-A779729DF69C}" dt="2024-02-06T13:12:17.614" v="725" actId="478"/>
          <ac:spMkLst>
            <pc:docMk/>
            <pc:sldMk cId="3121911503" sldId="372"/>
            <ac:spMk id="38" creationId="{4DAAD918-3917-FB28-F229-A3AB2B5F90EE}"/>
          </ac:spMkLst>
        </pc:spChg>
        <pc:spChg chg="del">
          <ac:chgData name="Fourati, Omar" userId="543b926d-baf3-4e4d-861e-19746c37446c" providerId="ADAL" clId="{3E5E39A2-D418-4016-9184-A779729DF69C}" dt="2024-02-06T13:12:17.614" v="725" actId="478"/>
          <ac:spMkLst>
            <pc:docMk/>
            <pc:sldMk cId="3121911503" sldId="372"/>
            <ac:spMk id="39" creationId="{9FF427E4-85FC-7E6C-5BEF-DD978912D8D1}"/>
          </ac:spMkLst>
        </pc:spChg>
        <pc:spChg chg="del">
          <ac:chgData name="Fourati, Omar" userId="543b926d-baf3-4e4d-861e-19746c37446c" providerId="ADAL" clId="{3E5E39A2-D418-4016-9184-A779729DF69C}" dt="2024-02-06T13:12:17.614" v="725" actId="478"/>
          <ac:spMkLst>
            <pc:docMk/>
            <pc:sldMk cId="3121911503" sldId="372"/>
            <ac:spMk id="40" creationId="{E5FC8126-DC83-2BA5-1836-3A1F4E08AE7B}"/>
          </ac:spMkLst>
        </pc:spChg>
        <pc:picChg chg="add mod">
          <ac:chgData name="Fourati, Omar" userId="543b926d-baf3-4e4d-861e-19746c37446c" providerId="ADAL" clId="{3E5E39A2-D418-4016-9184-A779729DF69C}" dt="2024-02-06T13:39:00.512" v="1329" actId="1076"/>
          <ac:picMkLst>
            <pc:docMk/>
            <pc:sldMk cId="3121911503" sldId="372"/>
            <ac:picMk id="18" creationId="{FB115FA9-B755-B633-C066-AB5A872D1526}"/>
          </ac:picMkLst>
        </pc:picChg>
        <pc:picChg chg="add mod">
          <ac:chgData name="Fourati, Omar" userId="543b926d-baf3-4e4d-861e-19746c37446c" providerId="ADAL" clId="{3E5E39A2-D418-4016-9184-A779729DF69C}" dt="2024-02-06T13:38:08.345" v="1286" actId="1076"/>
          <ac:picMkLst>
            <pc:docMk/>
            <pc:sldMk cId="3121911503" sldId="372"/>
            <ac:picMk id="21" creationId="{28EC3D03-3F67-B2C5-3AD2-223E7A990AD6}"/>
          </ac:picMkLst>
        </pc:picChg>
        <pc:picChg chg="del">
          <ac:chgData name="Fourati, Omar" userId="543b926d-baf3-4e4d-861e-19746c37446c" providerId="ADAL" clId="{3E5E39A2-D418-4016-9184-A779729DF69C}" dt="2024-02-06T13:12:17.614" v="725" actId="478"/>
          <ac:picMkLst>
            <pc:docMk/>
            <pc:sldMk cId="3121911503" sldId="372"/>
            <ac:picMk id="36" creationId="{2114C45F-4C2E-0F24-0E39-1145576ABE1D}"/>
          </ac:picMkLst>
        </pc:picChg>
        <pc:picChg chg="del">
          <ac:chgData name="Fourati, Omar" userId="543b926d-baf3-4e4d-861e-19746c37446c" providerId="ADAL" clId="{3E5E39A2-D418-4016-9184-A779729DF69C}" dt="2024-02-06T13:12:17.614" v="725" actId="478"/>
          <ac:picMkLst>
            <pc:docMk/>
            <pc:sldMk cId="3121911503" sldId="372"/>
            <ac:picMk id="37" creationId="{8CCCC125-333E-986D-B8DB-75CDDC13D443}"/>
          </ac:picMkLst>
        </pc:picChg>
        <pc:picChg chg="del">
          <ac:chgData name="Fourati, Omar" userId="543b926d-baf3-4e4d-861e-19746c37446c" providerId="ADAL" clId="{3E5E39A2-D418-4016-9184-A779729DF69C}" dt="2024-02-06T13:12:17.614" v="725" actId="478"/>
          <ac:picMkLst>
            <pc:docMk/>
            <pc:sldMk cId="3121911503" sldId="372"/>
            <ac:picMk id="1026" creationId="{C57E9BEA-A77C-C642-F3E2-40AD4D832760}"/>
          </ac:picMkLst>
        </pc:picChg>
      </pc:sldChg>
      <pc:sldChg chg="modSp add mod">
        <pc:chgData name="Fourati, Omar" userId="543b926d-baf3-4e4d-861e-19746c37446c" providerId="ADAL" clId="{3E5E39A2-D418-4016-9184-A779729DF69C}" dt="2024-02-06T13:22:02.613" v="986" actId="20577"/>
        <pc:sldMkLst>
          <pc:docMk/>
          <pc:sldMk cId="2795682569" sldId="373"/>
        </pc:sldMkLst>
        <pc:spChg chg="mod">
          <ac:chgData name="Fourati, Omar" userId="543b926d-baf3-4e4d-861e-19746c37446c" providerId="ADAL" clId="{3E5E39A2-D418-4016-9184-A779729DF69C}" dt="2024-02-06T13:15:12.834" v="849" actId="20577"/>
          <ac:spMkLst>
            <pc:docMk/>
            <pc:sldMk cId="2795682569" sldId="373"/>
            <ac:spMk id="12" creationId="{964D968A-A33C-7078-E883-10A168449907}"/>
          </ac:spMkLst>
        </pc:spChg>
        <pc:spChg chg="mod">
          <ac:chgData name="Fourati, Omar" userId="543b926d-baf3-4e4d-861e-19746c37446c" providerId="ADAL" clId="{3E5E39A2-D418-4016-9184-A779729DF69C}" dt="2024-02-06T13:20:35.756" v="935" actId="20577"/>
          <ac:spMkLst>
            <pc:docMk/>
            <pc:sldMk cId="2795682569" sldId="373"/>
            <ac:spMk id="13" creationId="{6541B799-E9DC-059A-B299-9313D4BFD013}"/>
          </ac:spMkLst>
        </pc:spChg>
        <pc:spChg chg="mod">
          <ac:chgData name="Fourati, Omar" userId="543b926d-baf3-4e4d-861e-19746c37446c" providerId="ADAL" clId="{3E5E39A2-D418-4016-9184-A779729DF69C}" dt="2024-02-06T13:18:07.087" v="933" actId="20577"/>
          <ac:spMkLst>
            <pc:docMk/>
            <pc:sldMk cId="2795682569" sldId="373"/>
            <ac:spMk id="14" creationId="{142B072B-7B43-1658-33D6-C351BDB37EB9}"/>
          </ac:spMkLst>
        </pc:spChg>
        <pc:spChg chg="mod">
          <ac:chgData name="Fourati, Omar" userId="543b926d-baf3-4e4d-861e-19746c37446c" providerId="ADAL" clId="{3E5E39A2-D418-4016-9184-A779729DF69C}" dt="2024-02-06T13:21:05.705" v="976" actId="20577"/>
          <ac:spMkLst>
            <pc:docMk/>
            <pc:sldMk cId="2795682569" sldId="373"/>
            <ac:spMk id="15" creationId="{65A76C98-C3AC-6AE7-40D2-71352AB0CEDD}"/>
          </ac:spMkLst>
        </pc:spChg>
        <pc:spChg chg="mod">
          <ac:chgData name="Fourati, Omar" userId="543b926d-baf3-4e4d-861e-19746c37446c" providerId="ADAL" clId="{3E5E39A2-D418-4016-9184-A779729DF69C}" dt="2024-02-06T13:22:02.613" v="986" actId="20577"/>
          <ac:spMkLst>
            <pc:docMk/>
            <pc:sldMk cId="2795682569" sldId="373"/>
            <ac:spMk id="16" creationId="{935ECE03-B82C-FDA3-3AFC-D5483C2A1F28}"/>
          </ac:spMkLst>
        </pc:spChg>
      </pc:sldChg>
      <pc:sldChg chg="addSp delSp modSp add mod">
        <pc:chgData name="Fourati, Omar" userId="543b926d-baf3-4e4d-861e-19746c37446c" providerId="ADAL" clId="{3E5E39A2-D418-4016-9184-A779729DF69C}" dt="2024-02-06T15:02:13.709" v="1749" actId="1076"/>
        <pc:sldMkLst>
          <pc:docMk/>
          <pc:sldMk cId="4236777214" sldId="374"/>
        </pc:sldMkLst>
        <pc:spChg chg="add mod">
          <ac:chgData name="Fourati, Omar" userId="543b926d-baf3-4e4d-861e-19746c37446c" providerId="ADAL" clId="{3E5E39A2-D418-4016-9184-A779729DF69C}" dt="2024-02-06T15:01:12.844" v="1735" actId="1076"/>
          <ac:spMkLst>
            <pc:docMk/>
            <pc:sldMk cId="4236777214" sldId="374"/>
            <ac:spMk id="7" creationId="{C787C9AD-3626-3F15-7F2D-A70CCD323B07}"/>
          </ac:spMkLst>
        </pc:spChg>
        <pc:spChg chg="mod">
          <ac:chgData name="Fourati, Omar" userId="543b926d-baf3-4e4d-861e-19746c37446c" providerId="ADAL" clId="{3E5E39A2-D418-4016-9184-A779729DF69C}" dt="2024-02-06T13:26:37.003" v="1012" actId="207"/>
          <ac:spMkLst>
            <pc:docMk/>
            <pc:sldMk cId="4236777214" sldId="374"/>
            <ac:spMk id="12" creationId="{36B2A72E-CC58-052B-B293-FD2B03298626}"/>
          </ac:spMkLst>
        </pc:spChg>
        <pc:spChg chg="mod">
          <ac:chgData name="Fourati, Omar" userId="543b926d-baf3-4e4d-861e-19746c37446c" providerId="ADAL" clId="{3E5E39A2-D418-4016-9184-A779729DF69C}" dt="2024-02-06T13:26:37.003" v="1012" actId="207"/>
          <ac:spMkLst>
            <pc:docMk/>
            <pc:sldMk cId="4236777214" sldId="374"/>
            <ac:spMk id="14" creationId="{DCE1D5DC-8BB2-BB2F-5935-7724C2BBC265}"/>
          </ac:spMkLst>
        </pc:spChg>
        <pc:spChg chg="mod">
          <ac:chgData name="Fourati, Omar" userId="543b926d-baf3-4e4d-861e-19746c37446c" providerId="ADAL" clId="{3E5E39A2-D418-4016-9184-A779729DF69C}" dt="2024-02-06T13:26:37.003" v="1012" actId="207"/>
          <ac:spMkLst>
            <pc:docMk/>
            <pc:sldMk cId="4236777214" sldId="374"/>
            <ac:spMk id="15" creationId="{DF7E02F4-BC4B-5A30-0F90-D94EEC5505DB}"/>
          </ac:spMkLst>
        </pc:spChg>
        <pc:spChg chg="add del mod">
          <ac:chgData name="Fourati, Omar" userId="543b926d-baf3-4e4d-861e-19746c37446c" providerId="ADAL" clId="{3E5E39A2-D418-4016-9184-A779729DF69C}" dt="2024-02-06T14:58:25.877" v="1646" actId="478"/>
          <ac:spMkLst>
            <pc:docMk/>
            <pc:sldMk cId="4236777214" sldId="374"/>
            <ac:spMk id="16" creationId="{B91DF957-F569-05E8-FAE2-9CBF49A50A33}"/>
          </ac:spMkLst>
        </pc:spChg>
        <pc:picChg chg="add del mod">
          <ac:chgData name="Fourati, Omar" userId="543b926d-baf3-4e4d-861e-19746c37446c" providerId="ADAL" clId="{3E5E39A2-D418-4016-9184-A779729DF69C}" dt="2024-02-06T14:58:25.877" v="1646" actId="478"/>
          <ac:picMkLst>
            <pc:docMk/>
            <pc:sldMk cId="4236777214" sldId="374"/>
            <ac:picMk id="5" creationId="{5FBEA52F-496B-4F2C-31ED-17C67D49D6F4}"/>
          </ac:picMkLst>
        </pc:picChg>
        <pc:picChg chg="add del mod">
          <ac:chgData name="Fourati, Omar" userId="543b926d-baf3-4e4d-861e-19746c37446c" providerId="ADAL" clId="{3E5E39A2-D418-4016-9184-A779729DF69C}" dt="2024-02-06T14:38:21.695" v="1472" actId="478"/>
          <ac:picMkLst>
            <pc:docMk/>
            <pc:sldMk cId="4236777214" sldId="374"/>
            <ac:picMk id="10" creationId="{1921AC7B-351F-0C8E-76F9-D815BB795D11}"/>
          </ac:picMkLst>
        </pc:picChg>
        <pc:picChg chg="add mod">
          <ac:chgData name="Fourati, Omar" userId="543b926d-baf3-4e4d-861e-19746c37446c" providerId="ADAL" clId="{3E5E39A2-D418-4016-9184-A779729DF69C}" dt="2024-02-06T15:01:14.462" v="1736" actId="1076"/>
          <ac:picMkLst>
            <pc:docMk/>
            <pc:sldMk cId="4236777214" sldId="374"/>
            <ac:picMk id="18" creationId="{E5C454DD-A122-AE7F-3344-0C5430313405}"/>
          </ac:picMkLst>
        </pc:picChg>
        <pc:picChg chg="add del">
          <ac:chgData name="Fourati, Omar" userId="543b926d-baf3-4e4d-861e-19746c37446c" providerId="ADAL" clId="{3E5E39A2-D418-4016-9184-A779729DF69C}" dt="2024-02-06T14:51:17.374" v="1632" actId="478"/>
          <ac:picMkLst>
            <pc:docMk/>
            <pc:sldMk cId="4236777214" sldId="374"/>
            <ac:picMk id="20" creationId="{72253463-DD3B-C25B-F953-64EDDC6F8283}"/>
          </ac:picMkLst>
        </pc:picChg>
        <pc:picChg chg="add del mod">
          <ac:chgData name="Fourati, Omar" userId="543b926d-baf3-4e4d-861e-19746c37446c" providerId="ADAL" clId="{3E5E39A2-D418-4016-9184-A779729DF69C}" dt="2024-02-06T14:51:33.450" v="1637" actId="478"/>
          <ac:picMkLst>
            <pc:docMk/>
            <pc:sldMk cId="4236777214" sldId="374"/>
            <ac:picMk id="22" creationId="{121696F9-FD1C-DD36-1C90-83FB00A88DDA}"/>
          </ac:picMkLst>
        </pc:picChg>
        <pc:picChg chg="add mod">
          <ac:chgData name="Fourati, Omar" userId="543b926d-baf3-4e4d-861e-19746c37446c" providerId="ADAL" clId="{3E5E39A2-D418-4016-9184-A779729DF69C}" dt="2024-02-06T15:01:43.906" v="1747" actId="1076"/>
          <ac:picMkLst>
            <pc:docMk/>
            <pc:sldMk cId="4236777214" sldId="374"/>
            <ac:picMk id="24" creationId="{247012D1-6022-68B2-6059-B1D3C0D76646}"/>
          </ac:picMkLst>
        </pc:picChg>
        <pc:picChg chg="add mod">
          <ac:chgData name="Fourati, Omar" userId="543b926d-baf3-4e4d-861e-19746c37446c" providerId="ADAL" clId="{3E5E39A2-D418-4016-9184-A779729DF69C}" dt="2024-02-06T15:02:13.709" v="1749" actId="1076"/>
          <ac:picMkLst>
            <pc:docMk/>
            <pc:sldMk cId="4236777214" sldId="374"/>
            <ac:picMk id="26" creationId="{CC11D1C2-B3B3-DD5B-93A0-CC94589693CF}"/>
          </ac:picMkLst>
        </pc:picChg>
      </pc:sldChg>
      <pc:sldChg chg="addSp delSp modSp add mod">
        <pc:chgData name="Fourati, Omar" userId="543b926d-baf3-4e4d-861e-19746c37446c" providerId="ADAL" clId="{3E5E39A2-D418-4016-9184-A779729DF69C}" dt="2024-02-06T15:10:01.440" v="1921"/>
        <pc:sldMkLst>
          <pc:docMk/>
          <pc:sldMk cId="3887009211" sldId="375"/>
        </pc:sldMkLst>
        <pc:spChg chg="add mod">
          <ac:chgData name="Fourati, Omar" userId="543b926d-baf3-4e4d-861e-19746c37446c" providerId="ADAL" clId="{3E5E39A2-D418-4016-9184-A779729DF69C}" dt="2024-02-06T15:10:01.440" v="1921"/>
          <ac:spMkLst>
            <pc:docMk/>
            <pc:sldMk cId="3887009211" sldId="375"/>
            <ac:spMk id="7" creationId="{FE577927-6A20-8760-6501-F09C9A62E2B5}"/>
          </ac:spMkLst>
        </pc:spChg>
        <pc:spChg chg="mod">
          <ac:chgData name="Fourati, Omar" userId="543b926d-baf3-4e4d-861e-19746c37446c" providerId="ADAL" clId="{3E5E39A2-D418-4016-9184-A779729DF69C}" dt="2024-02-06T13:26:46.305" v="1013" actId="207"/>
          <ac:spMkLst>
            <pc:docMk/>
            <pc:sldMk cId="3887009211" sldId="375"/>
            <ac:spMk id="12" creationId="{A26EA2FF-AAB0-EDE3-600F-ADA349E590C8}"/>
          </ac:spMkLst>
        </pc:spChg>
        <pc:spChg chg="mod">
          <ac:chgData name="Fourati, Omar" userId="543b926d-baf3-4e4d-861e-19746c37446c" providerId="ADAL" clId="{3E5E39A2-D418-4016-9184-A779729DF69C}" dt="2024-02-06T13:26:46.305" v="1013" actId="207"/>
          <ac:spMkLst>
            <pc:docMk/>
            <pc:sldMk cId="3887009211" sldId="375"/>
            <ac:spMk id="13" creationId="{68DACC3D-7669-D5AE-8380-21695A17338B}"/>
          </ac:spMkLst>
        </pc:spChg>
        <pc:spChg chg="mod">
          <ac:chgData name="Fourati, Omar" userId="543b926d-baf3-4e4d-861e-19746c37446c" providerId="ADAL" clId="{3E5E39A2-D418-4016-9184-A779729DF69C}" dt="2024-02-06T13:26:46.305" v="1013" actId="207"/>
          <ac:spMkLst>
            <pc:docMk/>
            <pc:sldMk cId="3887009211" sldId="375"/>
            <ac:spMk id="15" creationId="{931E5EB1-C8F7-068C-948A-333A346ACDAB}"/>
          </ac:spMkLst>
        </pc:spChg>
        <pc:spChg chg="add mod">
          <ac:chgData name="Fourati, Omar" userId="543b926d-baf3-4e4d-861e-19746c37446c" providerId="ADAL" clId="{3E5E39A2-D418-4016-9184-A779729DF69C}" dt="2024-02-06T15:02:27.564" v="1750"/>
          <ac:spMkLst>
            <pc:docMk/>
            <pc:sldMk cId="3887009211" sldId="375"/>
            <ac:spMk id="16" creationId="{009D30E0-F428-E07A-52C2-9CC71829F64C}"/>
          </ac:spMkLst>
        </pc:spChg>
        <pc:picChg chg="add mod">
          <ac:chgData name="Fourati, Omar" userId="543b926d-baf3-4e4d-861e-19746c37446c" providerId="ADAL" clId="{3E5E39A2-D418-4016-9184-A779729DF69C}" dt="2024-02-06T15:02:27.564" v="1750"/>
          <ac:picMkLst>
            <pc:docMk/>
            <pc:sldMk cId="3887009211" sldId="375"/>
            <ac:picMk id="5" creationId="{9806220D-1FB1-FAE4-003B-F82A9A0E56E7}"/>
          </ac:picMkLst>
        </pc:picChg>
        <pc:picChg chg="add del mod">
          <ac:chgData name="Fourati, Omar" userId="543b926d-baf3-4e4d-861e-19746c37446c" providerId="ADAL" clId="{3E5E39A2-D418-4016-9184-A779729DF69C}" dt="2024-02-06T15:05:27.994" v="1753" actId="478"/>
          <ac:picMkLst>
            <pc:docMk/>
            <pc:sldMk cId="3887009211" sldId="375"/>
            <ac:picMk id="10" creationId="{D0C609A7-7887-6A85-D7BA-A56F63408EF6}"/>
          </ac:picMkLst>
        </pc:picChg>
        <pc:picChg chg="add del">
          <ac:chgData name="Fourati, Omar" userId="543b926d-baf3-4e4d-861e-19746c37446c" providerId="ADAL" clId="{3E5E39A2-D418-4016-9184-A779729DF69C}" dt="2024-02-06T15:05:27.278" v="1752" actId="22"/>
          <ac:picMkLst>
            <pc:docMk/>
            <pc:sldMk cId="3887009211" sldId="375"/>
            <ac:picMk id="18" creationId="{59A3A716-3724-E6A9-42F4-CC966F908818}"/>
          </ac:picMkLst>
        </pc:picChg>
        <pc:picChg chg="add mod">
          <ac:chgData name="Fourati, Omar" userId="543b926d-baf3-4e4d-861e-19746c37446c" providerId="ADAL" clId="{3E5E39A2-D418-4016-9184-A779729DF69C}" dt="2024-02-06T15:05:37.742" v="1756" actId="1076"/>
          <ac:picMkLst>
            <pc:docMk/>
            <pc:sldMk cId="3887009211" sldId="375"/>
            <ac:picMk id="20" creationId="{769FDF93-F704-EA6C-B1BE-CD9D8A2AEE1C}"/>
          </ac:picMkLst>
        </pc:picChg>
      </pc:sldChg>
      <pc:sldChg chg="modSp add mod">
        <pc:chgData name="Fourati, Omar" userId="543b926d-baf3-4e4d-861e-19746c37446c" providerId="ADAL" clId="{3E5E39A2-D418-4016-9184-A779729DF69C}" dt="2024-02-06T13:26:53.730" v="1014" actId="207"/>
        <pc:sldMkLst>
          <pc:docMk/>
          <pc:sldMk cId="932072143" sldId="376"/>
        </pc:sldMkLst>
        <pc:spChg chg="mod">
          <ac:chgData name="Fourati, Omar" userId="543b926d-baf3-4e4d-861e-19746c37446c" providerId="ADAL" clId="{3E5E39A2-D418-4016-9184-A779729DF69C}" dt="2024-02-06T13:26:53.730" v="1014" actId="207"/>
          <ac:spMkLst>
            <pc:docMk/>
            <pc:sldMk cId="932072143" sldId="376"/>
            <ac:spMk id="12" creationId="{EF1FE709-4444-0235-7EE9-08F43FD43882}"/>
          </ac:spMkLst>
        </pc:spChg>
        <pc:spChg chg="mod">
          <ac:chgData name="Fourati, Omar" userId="543b926d-baf3-4e4d-861e-19746c37446c" providerId="ADAL" clId="{3E5E39A2-D418-4016-9184-A779729DF69C}" dt="2024-02-06T13:26:53.730" v="1014" actId="207"/>
          <ac:spMkLst>
            <pc:docMk/>
            <pc:sldMk cId="932072143" sldId="376"/>
            <ac:spMk id="13" creationId="{98A67185-D56F-B157-B275-38AFEC895C08}"/>
          </ac:spMkLst>
        </pc:spChg>
        <pc:spChg chg="mod">
          <ac:chgData name="Fourati, Omar" userId="543b926d-baf3-4e4d-861e-19746c37446c" providerId="ADAL" clId="{3E5E39A2-D418-4016-9184-A779729DF69C}" dt="2024-02-06T13:26:53.730" v="1014" actId="207"/>
          <ac:spMkLst>
            <pc:docMk/>
            <pc:sldMk cId="932072143" sldId="376"/>
            <ac:spMk id="14" creationId="{4EE08C8D-F5E7-8AD4-B9C9-F58C244902DB}"/>
          </ac:spMkLst>
        </pc:spChg>
      </pc:sldChg>
    </pc:docChg>
  </pc:docChgLst>
  <pc:docChgLst>
    <pc:chgData name="Jobst, Hanna" userId="e86661fe-1388-4b75-a8f7-53b9f30bf181" providerId="ADAL" clId="{AA985991-91B9-3843-B3EC-9FE593DD6E37}"/>
    <pc:docChg chg="undo custSel addSld modSld modMainMaster replTag">
      <pc:chgData name="Jobst, Hanna" userId="e86661fe-1388-4b75-a8f7-53b9f30bf181" providerId="ADAL" clId="{AA985991-91B9-3843-B3EC-9FE593DD6E37}" dt="2023-12-06T12:16:29.326" v="1458" actId="14100"/>
      <pc:docMkLst>
        <pc:docMk/>
      </pc:docMkLst>
      <pc:sldChg chg="modSp mod">
        <pc:chgData name="Jobst, Hanna" userId="e86661fe-1388-4b75-a8f7-53b9f30bf181" providerId="ADAL" clId="{AA985991-91B9-3843-B3EC-9FE593DD6E37}" dt="2023-12-04T11:29:38.923" v="457"/>
        <pc:sldMkLst>
          <pc:docMk/>
          <pc:sldMk cId="3856579613" sldId="308"/>
        </pc:sldMkLst>
        <pc:spChg chg="mod">
          <ac:chgData name="Jobst, Hanna" userId="e86661fe-1388-4b75-a8f7-53b9f30bf181" providerId="ADAL" clId="{AA985991-91B9-3843-B3EC-9FE593DD6E37}" dt="2023-12-04T11:29:38.911" v="453" actId="948"/>
          <ac:spMkLst>
            <pc:docMk/>
            <pc:sldMk cId="3856579613" sldId="308"/>
            <ac:spMk id="4" creationId="{4F67DDAB-A029-4F51-840C-C39A868CCDB6}"/>
          </ac:spMkLst>
        </pc:spChg>
        <pc:graphicFrameChg chg="mod">
          <ac:chgData name="Jobst, Hanna" userId="e86661fe-1388-4b75-a8f7-53b9f30bf181" providerId="ADAL" clId="{AA985991-91B9-3843-B3EC-9FE593DD6E37}" dt="2023-12-04T11:29:38.923" v="457"/>
          <ac:graphicFrameMkLst>
            <pc:docMk/>
            <pc:sldMk cId="3856579613" sldId="308"/>
            <ac:graphicFrameMk id="3" creationId="{877D8ABE-A3BC-83EB-5C4C-C868F2AA5CA1}"/>
          </ac:graphicFrameMkLst>
        </pc:graphicFrameChg>
      </pc:sldChg>
      <pc:sldChg chg="modSp mod">
        <pc:chgData name="Jobst, Hanna" userId="e86661fe-1388-4b75-a8f7-53b9f30bf181" providerId="ADAL" clId="{AA985991-91B9-3843-B3EC-9FE593DD6E37}" dt="2023-12-04T11:23:49.883" v="73" actId="14100"/>
        <pc:sldMkLst>
          <pc:docMk/>
          <pc:sldMk cId="2622759072" sldId="334"/>
        </pc:sldMkLst>
        <pc:grpChg chg="mod">
          <ac:chgData name="Jobst, Hanna" userId="e86661fe-1388-4b75-a8f7-53b9f30bf181" providerId="ADAL" clId="{AA985991-91B9-3843-B3EC-9FE593DD6E37}" dt="2023-12-04T11:23:49.883" v="73" actId="14100"/>
          <ac:grpSpMkLst>
            <pc:docMk/>
            <pc:sldMk cId="2622759072" sldId="334"/>
            <ac:grpSpMk id="15" creationId="{86D066C2-4FFE-41F5-826D-DE109EC33E90}"/>
          </ac:grpSpMkLst>
        </pc:grpChg>
      </pc:sldChg>
      <pc:sldChg chg="modSp mod">
        <pc:chgData name="Jobst, Hanna" userId="e86661fe-1388-4b75-a8f7-53b9f30bf181" providerId="ADAL" clId="{AA985991-91B9-3843-B3EC-9FE593DD6E37}" dt="2023-12-05T15:58:42.531" v="1448" actId="404"/>
        <pc:sldMkLst>
          <pc:docMk/>
          <pc:sldMk cId="3842158526" sldId="345"/>
        </pc:sldMkLst>
        <pc:spChg chg="mod">
          <ac:chgData name="Jobst, Hanna" userId="e86661fe-1388-4b75-a8f7-53b9f30bf181" providerId="ADAL" clId="{AA985991-91B9-3843-B3EC-9FE593DD6E37}" dt="2023-12-05T15:58:42.531" v="1448" actId="404"/>
          <ac:spMkLst>
            <pc:docMk/>
            <pc:sldMk cId="3842158526" sldId="345"/>
            <ac:spMk id="5" creationId="{6A962568-18E6-A1C1-002C-F0DCB4531BC6}"/>
          </ac:spMkLst>
        </pc:spChg>
      </pc:sldChg>
      <pc:sldChg chg="addSp delSp modSp new mod modNotesTx">
        <pc:chgData name="Jobst, Hanna" userId="e86661fe-1388-4b75-a8f7-53b9f30bf181" providerId="ADAL" clId="{AA985991-91B9-3843-B3EC-9FE593DD6E37}" dt="2023-12-06T12:16:29.326" v="1458" actId="14100"/>
        <pc:sldMkLst>
          <pc:docMk/>
          <pc:sldMk cId="2684686047" sldId="346"/>
        </pc:sldMkLst>
        <pc:spChg chg="mod">
          <ac:chgData name="Jobst, Hanna" userId="e86661fe-1388-4b75-a8f7-53b9f30bf181" providerId="ADAL" clId="{AA985991-91B9-3843-B3EC-9FE593DD6E37}" dt="2023-12-05T15:38:34.656" v="1397" actId="14100"/>
          <ac:spMkLst>
            <pc:docMk/>
            <pc:sldMk cId="2684686047" sldId="346"/>
            <ac:spMk id="3" creationId="{7F150D79-2652-85A4-36C4-FB0874C5F404}"/>
          </ac:spMkLst>
        </pc:spChg>
        <pc:spChg chg="mod">
          <ac:chgData name="Jobst, Hanna" userId="e86661fe-1388-4b75-a8f7-53b9f30bf181" providerId="ADAL" clId="{AA985991-91B9-3843-B3EC-9FE593DD6E37}" dt="2023-12-05T15:40:21.001" v="1426" actId="1076"/>
          <ac:spMkLst>
            <pc:docMk/>
            <pc:sldMk cId="2684686047" sldId="346"/>
            <ac:spMk id="5" creationId="{C714FC84-1712-3A26-0E17-82B784CAE5F7}"/>
          </ac:spMkLst>
        </pc:spChg>
        <pc:spChg chg="mod">
          <ac:chgData name="Jobst, Hanna" userId="e86661fe-1388-4b75-a8f7-53b9f30bf181" providerId="ADAL" clId="{AA985991-91B9-3843-B3EC-9FE593DD6E37}" dt="2023-12-04T11:29:50.334" v="556" actId="948"/>
          <ac:spMkLst>
            <pc:docMk/>
            <pc:sldMk cId="2684686047" sldId="346"/>
            <ac:spMk id="6" creationId="{B2F91D58-FAC4-ADAB-1F11-88D6E7B7C85C}"/>
          </ac:spMkLst>
        </pc:spChg>
        <pc:spChg chg="del">
          <ac:chgData name="Jobst, Hanna" userId="e86661fe-1388-4b75-a8f7-53b9f30bf181" providerId="ADAL" clId="{AA985991-91B9-3843-B3EC-9FE593DD6E37}" dt="2023-12-04T15:15:03.466" v="654"/>
          <ac:spMkLst>
            <pc:docMk/>
            <pc:sldMk cId="2684686047" sldId="346"/>
            <ac:spMk id="7" creationId="{2C7588CD-89A9-A444-59B9-8D5D3197C0C9}"/>
          </ac:spMkLst>
        </pc:spChg>
        <pc:spChg chg="add mod">
          <ac:chgData name="Jobst, Hanna" userId="e86661fe-1388-4b75-a8f7-53b9f30bf181" providerId="ADAL" clId="{AA985991-91B9-3843-B3EC-9FE593DD6E37}" dt="2023-12-05T15:41:28.744" v="1433" actId="207"/>
          <ac:spMkLst>
            <pc:docMk/>
            <pc:sldMk cId="2684686047" sldId="346"/>
            <ac:spMk id="7" creationId="{4B136054-4DEF-290A-6380-27916CE60F9E}"/>
          </ac:spMkLst>
        </pc:spChg>
        <pc:spChg chg="mod">
          <ac:chgData name="Jobst, Hanna" userId="e86661fe-1388-4b75-a8f7-53b9f30bf181" providerId="ADAL" clId="{AA985991-91B9-3843-B3EC-9FE593DD6E37}" dt="2023-12-04T11:26:07.162" v="93" actId="20577"/>
          <ac:spMkLst>
            <pc:docMk/>
            <pc:sldMk cId="2684686047" sldId="346"/>
            <ac:spMk id="9" creationId="{78F3A41D-DCDE-0008-645C-BAC43680A794}"/>
          </ac:spMkLst>
        </pc:spChg>
        <pc:spChg chg="add del mod modVis">
          <ac:chgData name="Jobst, Hanna" userId="e86661fe-1388-4b75-a8f7-53b9f30bf181" providerId="ADAL" clId="{AA985991-91B9-3843-B3EC-9FE593DD6E37}" dt="2023-12-04T11:29:46.590" v="495"/>
          <ac:spMkLst>
            <pc:docMk/>
            <pc:sldMk cId="2684686047" sldId="346"/>
            <ac:spMk id="10" creationId="{25B77D0C-70D9-5389-A2AC-E0773F9A3362}"/>
          </ac:spMkLst>
        </pc:spChg>
        <pc:spChg chg="add mod">
          <ac:chgData name="Jobst, Hanna" userId="e86661fe-1388-4b75-a8f7-53b9f30bf181" providerId="ADAL" clId="{AA985991-91B9-3843-B3EC-9FE593DD6E37}" dt="2023-12-06T12:16:25.768" v="1457" actId="14100"/>
          <ac:spMkLst>
            <pc:docMk/>
            <pc:sldMk cId="2684686047" sldId="346"/>
            <ac:spMk id="10" creationId="{3D0DD344-2871-952B-2F30-ED07FB33D437}"/>
          </ac:spMkLst>
        </pc:spChg>
        <pc:spChg chg="add del mod modVis">
          <ac:chgData name="Jobst, Hanna" userId="e86661fe-1388-4b75-a8f7-53b9f30bf181" providerId="ADAL" clId="{AA985991-91B9-3843-B3EC-9FE593DD6E37}" dt="2023-12-04T11:29:48.137" v="543"/>
          <ac:spMkLst>
            <pc:docMk/>
            <pc:sldMk cId="2684686047" sldId="346"/>
            <ac:spMk id="12" creationId="{0C9E818F-7A62-FB4C-8812-2C5387726247}"/>
          </ac:spMkLst>
        </pc:spChg>
        <pc:spChg chg="add mod">
          <ac:chgData name="Jobst, Hanna" userId="e86661fe-1388-4b75-a8f7-53b9f30bf181" providerId="ADAL" clId="{AA985991-91B9-3843-B3EC-9FE593DD6E37}" dt="2023-12-06T12:16:14.503" v="1454" actId="1076"/>
          <ac:spMkLst>
            <pc:docMk/>
            <pc:sldMk cId="2684686047" sldId="346"/>
            <ac:spMk id="12" creationId="{FD7DBE3A-A2A3-A0D5-5A4A-D5E4B034EA39}"/>
          </ac:spMkLst>
        </pc:spChg>
        <pc:spChg chg="add del mod modVis">
          <ac:chgData name="Jobst, Hanna" userId="e86661fe-1388-4b75-a8f7-53b9f30bf181" providerId="ADAL" clId="{AA985991-91B9-3843-B3EC-9FE593DD6E37}" dt="2023-12-04T11:29:50.374" v="580"/>
          <ac:spMkLst>
            <pc:docMk/>
            <pc:sldMk cId="2684686047" sldId="346"/>
            <ac:spMk id="13" creationId="{A34AEF02-FCDD-208A-FFB1-248F53A3B94D}"/>
          </ac:spMkLst>
        </pc:spChg>
        <pc:spChg chg="add mod">
          <ac:chgData name="Jobst, Hanna" userId="e86661fe-1388-4b75-a8f7-53b9f30bf181" providerId="ADAL" clId="{AA985991-91B9-3843-B3EC-9FE593DD6E37}" dt="2023-12-05T15:41:28.744" v="1433" actId="207"/>
          <ac:spMkLst>
            <pc:docMk/>
            <pc:sldMk cId="2684686047" sldId="346"/>
            <ac:spMk id="15" creationId="{5564A98E-4DC7-7491-CE4F-6D9B04DAB635}"/>
          </ac:spMkLst>
        </pc:spChg>
        <pc:spChg chg="add mod">
          <ac:chgData name="Jobst, Hanna" userId="e86661fe-1388-4b75-a8f7-53b9f30bf181" providerId="ADAL" clId="{AA985991-91B9-3843-B3EC-9FE593DD6E37}" dt="2023-12-06T12:16:29.326" v="1458" actId="14100"/>
          <ac:spMkLst>
            <pc:docMk/>
            <pc:sldMk cId="2684686047" sldId="346"/>
            <ac:spMk id="16" creationId="{9FDA23CE-E069-F92D-4860-AE323CFDA36E}"/>
          </ac:spMkLst>
        </pc:spChg>
        <pc:spChg chg="add mod">
          <ac:chgData name="Jobst, Hanna" userId="e86661fe-1388-4b75-a8f7-53b9f30bf181" providerId="ADAL" clId="{AA985991-91B9-3843-B3EC-9FE593DD6E37}" dt="2023-12-06T12:16:17.321" v="1455" actId="1076"/>
          <ac:spMkLst>
            <pc:docMk/>
            <pc:sldMk cId="2684686047" sldId="346"/>
            <ac:spMk id="17" creationId="{29795C63-8706-398F-9308-630C698D2601}"/>
          </ac:spMkLst>
        </pc:spChg>
        <pc:graphicFrameChg chg="add mod modVis replST">
          <ac:chgData name="Jobst, Hanna" userId="e86661fe-1388-4b75-a8f7-53b9f30bf181" providerId="ADAL" clId="{AA985991-91B9-3843-B3EC-9FE593DD6E37}" dt="2023-12-04T11:29:50.378" v="582"/>
          <ac:graphicFrameMkLst>
            <pc:docMk/>
            <pc:sldMk cId="2684686047" sldId="346"/>
            <ac:graphicFrameMk id="11" creationId="{6C08FDBF-3D2E-4D39-DD7B-9BE12FD4BAC6}"/>
          </ac:graphicFrameMkLst>
        </pc:graphicFrameChg>
        <pc:graphicFrameChg chg="add del mod modGraphic">
          <ac:chgData name="Jobst, Hanna" userId="e86661fe-1388-4b75-a8f7-53b9f30bf181" providerId="ADAL" clId="{AA985991-91B9-3843-B3EC-9FE593DD6E37}" dt="2023-12-04T15:21:50.868" v="861" actId="478"/>
          <ac:graphicFrameMkLst>
            <pc:docMk/>
            <pc:sldMk cId="2684686047" sldId="346"/>
            <ac:graphicFrameMk id="14" creationId="{D5CAACD1-804B-E135-7743-77EDC734D050}"/>
          </ac:graphicFrameMkLst>
        </pc:graphicFrameChg>
        <pc:picChg chg="add mod">
          <ac:chgData name="Jobst, Hanna" userId="e86661fe-1388-4b75-a8f7-53b9f30bf181" providerId="ADAL" clId="{AA985991-91B9-3843-B3EC-9FE593DD6E37}" dt="2023-12-04T15:25:50.674" v="973" actId="1076"/>
          <ac:picMkLst>
            <pc:docMk/>
            <pc:sldMk cId="2684686047" sldId="346"/>
            <ac:picMk id="1026" creationId="{6EB68676-EFC3-FDFA-48E5-0045779D928D}"/>
          </ac:picMkLst>
        </pc:picChg>
      </pc:sldChg>
      <pc:sldChg chg="addSp delSp modSp add mod modAnim modNotesTx">
        <pc:chgData name="Jobst, Hanna" userId="e86661fe-1388-4b75-a8f7-53b9f30bf181" providerId="ADAL" clId="{AA985991-91B9-3843-B3EC-9FE593DD6E37}" dt="2023-12-04T15:53:44.040" v="1068"/>
        <pc:sldMkLst>
          <pc:docMk/>
          <pc:sldMk cId="3420730971" sldId="347"/>
        </pc:sldMkLst>
        <pc:spChg chg="del mod">
          <ac:chgData name="Jobst, Hanna" userId="e86661fe-1388-4b75-a8f7-53b9f30bf181" providerId="ADAL" clId="{AA985991-91B9-3843-B3EC-9FE593DD6E37}" dt="2023-12-04T15:44:36.235" v="1027" actId="478"/>
          <ac:spMkLst>
            <pc:docMk/>
            <pc:sldMk cId="3420730971" sldId="347"/>
            <ac:spMk id="5" creationId="{C714FC84-1712-3A26-0E17-82B784CAE5F7}"/>
          </ac:spMkLst>
        </pc:spChg>
        <pc:spChg chg="mod">
          <ac:chgData name="Jobst, Hanna" userId="e86661fe-1388-4b75-a8f7-53b9f30bf181" providerId="ADAL" clId="{AA985991-91B9-3843-B3EC-9FE593DD6E37}" dt="2023-12-04T11:30:06.987" v="591" actId="948"/>
          <ac:spMkLst>
            <pc:docMk/>
            <pc:sldMk cId="3420730971" sldId="347"/>
            <ac:spMk id="6" creationId="{B2F91D58-FAC4-ADAB-1F11-88D6E7B7C85C}"/>
          </ac:spMkLst>
        </pc:spChg>
        <pc:spChg chg="del mod">
          <ac:chgData name="Jobst, Hanna" userId="e86661fe-1388-4b75-a8f7-53b9f30bf181" providerId="ADAL" clId="{AA985991-91B9-3843-B3EC-9FE593DD6E37}" dt="2023-12-04T11:28:48.499" v="448" actId="931"/>
          <ac:spMkLst>
            <pc:docMk/>
            <pc:sldMk cId="3420730971" sldId="347"/>
            <ac:spMk id="7" creationId="{2C7588CD-89A9-A444-59B9-8D5D3197C0C9}"/>
          </ac:spMkLst>
        </pc:spChg>
        <pc:spChg chg="mod">
          <ac:chgData name="Jobst, Hanna" userId="e86661fe-1388-4b75-a8f7-53b9f30bf181" providerId="ADAL" clId="{AA985991-91B9-3843-B3EC-9FE593DD6E37}" dt="2023-12-04T11:26:43.861" v="133" actId="20577"/>
          <ac:spMkLst>
            <pc:docMk/>
            <pc:sldMk cId="3420730971" sldId="347"/>
            <ac:spMk id="9" creationId="{78F3A41D-DCDE-0008-645C-BAC43680A794}"/>
          </ac:spMkLst>
        </pc:spChg>
        <pc:spChg chg="add del mod modVis">
          <ac:chgData name="Jobst, Hanna" userId="e86661fe-1388-4b75-a8f7-53b9f30bf181" providerId="ADAL" clId="{AA985991-91B9-3843-B3EC-9FE593DD6E37}" dt="2023-12-04T11:26:55.472" v="194"/>
          <ac:spMkLst>
            <pc:docMk/>
            <pc:sldMk cId="3420730971" sldId="347"/>
            <ac:spMk id="11" creationId="{DCB91491-33FA-2BBE-BA9B-B980EBBC4D00}"/>
          </ac:spMkLst>
        </pc:spChg>
        <pc:spChg chg="add del mod modVis">
          <ac:chgData name="Jobst, Hanna" userId="e86661fe-1388-4b75-a8f7-53b9f30bf181" providerId="ADAL" clId="{AA985991-91B9-3843-B3EC-9FE593DD6E37}" dt="2023-12-04T11:26:57.434" v="227"/>
          <ac:spMkLst>
            <pc:docMk/>
            <pc:sldMk cId="3420730971" sldId="347"/>
            <ac:spMk id="12" creationId="{CCC12038-8B91-B940-8406-D366AFC384CE}"/>
          </ac:spMkLst>
        </pc:spChg>
        <pc:spChg chg="add del mod modVis">
          <ac:chgData name="Jobst, Hanna" userId="e86661fe-1388-4b75-a8f7-53b9f30bf181" providerId="ADAL" clId="{AA985991-91B9-3843-B3EC-9FE593DD6E37}" dt="2023-12-04T11:26:58.512" v="258"/>
          <ac:spMkLst>
            <pc:docMk/>
            <pc:sldMk cId="3420730971" sldId="347"/>
            <ac:spMk id="13" creationId="{C29C071C-1E7B-10EF-3AC9-F0EA4F9AC9C5}"/>
          </ac:spMkLst>
        </pc:spChg>
        <pc:spChg chg="add del mod modVis">
          <ac:chgData name="Jobst, Hanna" userId="e86661fe-1388-4b75-a8f7-53b9f30bf181" providerId="ADAL" clId="{AA985991-91B9-3843-B3EC-9FE593DD6E37}" dt="2023-12-04T11:27:17.340" v="309"/>
          <ac:spMkLst>
            <pc:docMk/>
            <pc:sldMk cId="3420730971" sldId="347"/>
            <ac:spMk id="14" creationId="{A49CBBFF-4B38-08E0-4D4D-76280C6FE041}"/>
          </ac:spMkLst>
        </pc:spChg>
        <pc:spChg chg="add del mod modVis">
          <ac:chgData name="Jobst, Hanna" userId="e86661fe-1388-4b75-a8f7-53b9f30bf181" providerId="ADAL" clId="{AA985991-91B9-3843-B3EC-9FE593DD6E37}" dt="2023-12-04T11:27:20.369" v="345"/>
          <ac:spMkLst>
            <pc:docMk/>
            <pc:sldMk cId="3420730971" sldId="347"/>
            <ac:spMk id="15" creationId="{5209473E-8449-75C6-A2BA-A1BBD7467211}"/>
          </ac:spMkLst>
        </pc:spChg>
        <pc:spChg chg="add del mod modVis">
          <ac:chgData name="Jobst, Hanna" userId="e86661fe-1388-4b75-a8f7-53b9f30bf181" providerId="ADAL" clId="{AA985991-91B9-3843-B3EC-9FE593DD6E37}" dt="2023-12-04T11:27:23.048" v="374"/>
          <ac:spMkLst>
            <pc:docMk/>
            <pc:sldMk cId="3420730971" sldId="347"/>
            <ac:spMk id="16" creationId="{D888E56D-194D-B3BA-340D-BFF58BB69FBF}"/>
          </ac:spMkLst>
        </pc:spChg>
        <pc:spChg chg="add del mod modVis">
          <ac:chgData name="Jobst, Hanna" userId="e86661fe-1388-4b75-a8f7-53b9f30bf181" providerId="ADAL" clId="{AA985991-91B9-3843-B3EC-9FE593DD6E37}" dt="2023-12-04T11:30:07.030" v="615"/>
          <ac:spMkLst>
            <pc:docMk/>
            <pc:sldMk cId="3420730971" sldId="347"/>
            <ac:spMk id="19" creationId="{EB192AE4-2E2D-0AF6-2ECA-F702C918860F}"/>
          </ac:spMkLst>
        </pc:spChg>
        <pc:spChg chg="add mod">
          <ac:chgData name="Jobst, Hanna" userId="e86661fe-1388-4b75-a8f7-53b9f30bf181" providerId="ADAL" clId="{AA985991-91B9-3843-B3EC-9FE593DD6E37}" dt="2023-12-04T15:45:04.736" v="1031" actId="1076"/>
          <ac:spMkLst>
            <pc:docMk/>
            <pc:sldMk cId="3420730971" sldId="347"/>
            <ac:spMk id="20" creationId="{BE4F6634-FB6F-6009-82E4-C4FFDB4735D8}"/>
          </ac:spMkLst>
        </pc:spChg>
        <pc:spChg chg="add mod">
          <ac:chgData name="Jobst, Hanna" userId="e86661fe-1388-4b75-a8f7-53b9f30bf181" providerId="ADAL" clId="{AA985991-91B9-3843-B3EC-9FE593DD6E37}" dt="2023-12-04T15:45:28.553" v="1053" actId="14100"/>
          <ac:spMkLst>
            <pc:docMk/>
            <pc:sldMk cId="3420730971" sldId="347"/>
            <ac:spMk id="21" creationId="{2B95FF19-A75B-24B0-4D4D-E6CF0C4F35AF}"/>
          </ac:spMkLst>
        </pc:spChg>
        <pc:spChg chg="add mod">
          <ac:chgData name="Jobst, Hanna" userId="e86661fe-1388-4b75-a8f7-53b9f30bf181" providerId="ADAL" clId="{AA985991-91B9-3843-B3EC-9FE593DD6E37}" dt="2023-12-04T15:45:48.122" v="1067" actId="1037"/>
          <ac:spMkLst>
            <pc:docMk/>
            <pc:sldMk cId="3420730971" sldId="347"/>
            <ac:spMk id="22" creationId="{CEEC5566-F4BE-A3A8-7812-7F9A084C3ACD}"/>
          </ac:spMkLst>
        </pc:spChg>
        <pc:spChg chg="add del mod">
          <ac:chgData name="Jobst, Hanna" userId="e86661fe-1388-4b75-a8f7-53b9f30bf181" providerId="ADAL" clId="{AA985991-91B9-3843-B3EC-9FE593DD6E37}" dt="2023-12-04T15:44:40.679" v="1028" actId="478"/>
          <ac:spMkLst>
            <pc:docMk/>
            <pc:sldMk cId="3420730971" sldId="347"/>
            <ac:spMk id="24" creationId="{F477FC5B-FB50-BDA6-5A3B-340BFA1E9F2B}"/>
          </ac:spMkLst>
        </pc:spChg>
        <pc:graphicFrameChg chg="add mod modVis replST">
          <ac:chgData name="Jobst, Hanna" userId="e86661fe-1388-4b75-a8f7-53b9f30bf181" providerId="ADAL" clId="{AA985991-91B9-3843-B3EC-9FE593DD6E37}" dt="2023-12-04T11:30:07.033" v="617"/>
          <ac:graphicFrameMkLst>
            <pc:docMk/>
            <pc:sldMk cId="3420730971" sldId="347"/>
            <ac:graphicFrameMk id="10" creationId="{E19D88DA-FAC1-5A1B-A05E-F0809232C013}"/>
          </ac:graphicFrameMkLst>
        </pc:graphicFrameChg>
        <pc:picChg chg="add mod">
          <ac:chgData name="Jobst, Hanna" userId="e86661fe-1388-4b75-a8f7-53b9f30bf181" providerId="ADAL" clId="{AA985991-91B9-3843-B3EC-9FE593DD6E37}" dt="2023-12-04T15:45:15.447" v="1051" actId="1035"/>
          <ac:picMkLst>
            <pc:docMk/>
            <pc:sldMk cId="3420730971" sldId="347"/>
            <ac:picMk id="18" creationId="{59950377-9D5E-C803-4F85-A7D6F300659A}"/>
          </ac:picMkLst>
        </pc:picChg>
      </pc:sldChg>
      <pc:sldChg chg="addSp delSp modSp mod">
        <pc:chgData name="Jobst, Hanna" userId="e86661fe-1388-4b75-a8f7-53b9f30bf181" providerId="ADAL" clId="{AA985991-91B9-3843-B3EC-9FE593DD6E37}" dt="2023-12-05T15:53:33.110" v="1447"/>
        <pc:sldMkLst>
          <pc:docMk/>
          <pc:sldMk cId="1217021714" sldId="348"/>
        </pc:sldMkLst>
        <pc:spChg chg="del">
          <ac:chgData name="Jobst, Hanna" userId="e86661fe-1388-4b75-a8f7-53b9f30bf181" providerId="ADAL" clId="{AA985991-91B9-3843-B3EC-9FE593DD6E37}" dt="2023-12-05T15:53:23.655" v="1446" actId="478"/>
          <ac:spMkLst>
            <pc:docMk/>
            <pc:sldMk cId="1217021714" sldId="348"/>
            <ac:spMk id="2" creationId="{84982039-3D55-B32F-9AAB-08D92C44BF4D}"/>
          </ac:spMkLst>
        </pc:spChg>
        <pc:spChg chg="del">
          <ac:chgData name="Jobst, Hanna" userId="e86661fe-1388-4b75-a8f7-53b9f30bf181" providerId="ADAL" clId="{AA985991-91B9-3843-B3EC-9FE593DD6E37}" dt="2023-12-05T15:53:21.508" v="1445" actId="478"/>
          <ac:spMkLst>
            <pc:docMk/>
            <pc:sldMk cId="1217021714" sldId="348"/>
            <ac:spMk id="3" creationId="{FF62FBF7-98BA-4F37-A9FC-7578EE12BEF1}"/>
          </ac:spMkLst>
        </pc:spChg>
        <pc:spChg chg="add mod">
          <ac:chgData name="Jobst, Hanna" userId="e86661fe-1388-4b75-a8f7-53b9f30bf181" providerId="ADAL" clId="{AA985991-91B9-3843-B3EC-9FE593DD6E37}" dt="2023-12-05T15:53:33.110" v="1447"/>
          <ac:spMkLst>
            <pc:docMk/>
            <pc:sldMk cId="1217021714" sldId="348"/>
            <ac:spMk id="5" creationId="{7CA465A1-244B-C87E-48C2-3FB1B3033380}"/>
          </ac:spMkLst>
        </pc:spChg>
        <pc:spChg chg="add mod">
          <ac:chgData name="Jobst, Hanna" userId="e86661fe-1388-4b75-a8f7-53b9f30bf181" providerId="ADAL" clId="{AA985991-91B9-3843-B3EC-9FE593DD6E37}" dt="2023-12-05T15:53:33.110" v="1447"/>
          <ac:spMkLst>
            <pc:docMk/>
            <pc:sldMk cId="1217021714" sldId="348"/>
            <ac:spMk id="6" creationId="{99DC4E44-2C78-81FD-47A2-02B1CD0818B5}"/>
          </ac:spMkLst>
        </pc:spChg>
        <pc:spChg chg="add mod">
          <ac:chgData name="Jobst, Hanna" userId="e86661fe-1388-4b75-a8f7-53b9f30bf181" providerId="ADAL" clId="{AA985991-91B9-3843-B3EC-9FE593DD6E37}" dt="2023-12-05T15:53:33.110" v="1447"/>
          <ac:spMkLst>
            <pc:docMk/>
            <pc:sldMk cId="1217021714" sldId="348"/>
            <ac:spMk id="7" creationId="{F2628409-9AA1-53E0-5243-CE8C94FE6618}"/>
          </ac:spMkLst>
        </pc:spChg>
        <pc:spChg chg="mod">
          <ac:chgData name="Jobst, Hanna" userId="e86661fe-1388-4b75-a8f7-53b9f30bf181" providerId="ADAL" clId="{AA985991-91B9-3843-B3EC-9FE593DD6E37}" dt="2023-12-05T15:30:48.373" v="1319" actId="1037"/>
          <ac:spMkLst>
            <pc:docMk/>
            <pc:sldMk cId="1217021714" sldId="348"/>
            <ac:spMk id="10" creationId="{21DCD3CD-96A5-EB8B-A28A-2A6A4385AB39}"/>
          </ac:spMkLst>
        </pc:spChg>
        <pc:spChg chg="mod">
          <ac:chgData name="Jobst, Hanna" userId="e86661fe-1388-4b75-a8f7-53b9f30bf181" providerId="ADAL" clId="{AA985991-91B9-3843-B3EC-9FE593DD6E37}" dt="2023-12-05T15:30:48.373" v="1319" actId="1037"/>
          <ac:spMkLst>
            <pc:docMk/>
            <pc:sldMk cId="1217021714" sldId="348"/>
            <ac:spMk id="23" creationId="{4BC5BF79-3455-C794-EEFB-1E5C69703B08}"/>
          </ac:spMkLst>
        </pc:spChg>
        <pc:picChg chg="mod">
          <ac:chgData name="Jobst, Hanna" userId="e86661fe-1388-4b75-a8f7-53b9f30bf181" providerId="ADAL" clId="{AA985991-91B9-3843-B3EC-9FE593DD6E37}" dt="2023-12-05T15:30:48.373" v="1319" actId="1037"/>
          <ac:picMkLst>
            <pc:docMk/>
            <pc:sldMk cId="1217021714" sldId="348"/>
            <ac:picMk id="20" creationId="{4CA501E4-7AD3-9AD5-2135-A68A64BEB149}"/>
          </ac:picMkLst>
        </pc:picChg>
      </pc:sldChg>
      <pc:sldChg chg="modSp mod">
        <pc:chgData name="Jobst, Hanna" userId="e86661fe-1388-4b75-a8f7-53b9f30bf181" providerId="ADAL" clId="{AA985991-91B9-3843-B3EC-9FE593DD6E37}" dt="2023-12-05T15:42:06.579" v="1439" actId="1076"/>
        <pc:sldMkLst>
          <pc:docMk/>
          <pc:sldMk cId="2045824023" sldId="352"/>
        </pc:sldMkLst>
        <pc:picChg chg="mod modCrop">
          <ac:chgData name="Jobst, Hanna" userId="e86661fe-1388-4b75-a8f7-53b9f30bf181" providerId="ADAL" clId="{AA985991-91B9-3843-B3EC-9FE593DD6E37}" dt="2023-12-05T15:42:06.579" v="1439" actId="1076"/>
          <ac:picMkLst>
            <pc:docMk/>
            <pc:sldMk cId="2045824023" sldId="352"/>
            <ac:picMk id="19" creationId="{9CCCED66-E257-1A0E-F6B7-E4A8991DE853}"/>
          </ac:picMkLst>
        </pc:picChg>
      </pc:sldChg>
      <pc:sldChg chg="modSp mod">
        <pc:chgData name="Jobst, Hanna" userId="e86661fe-1388-4b75-a8f7-53b9f30bf181" providerId="ADAL" clId="{AA985991-91B9-3843-B3EC-9FE593DD6E37}" dt="2023-12-05T15:51:59.666" v="1444" actId="1076"/>
        <pc:sldMkLst>
          <pc:docMk/>
          <pc:sldMk cId="2915014058" sldId="355"/>
        </pc:sldMkLst>
        <pc:spChg chg="mod">
          <ac:chgData name="Jobst, Hanna" userId="e86661fe-1388-4b75-a8f7-53b9f30bf181" providerId="ADAL" clId="{AA985991-91B9-3843-B3EC-9FE593DD6E37}" dt="2023-12-05T15:51:59.666" v="1444" actId="1076"/>
          <ac:spMkLst>
            <pc:docMk/>
            <pc:sldMk cId="2915014058" sldId="355"/>
            <ac:spMk id="11" creationId="{AEBF07E7-C8CB-C344-5CF1-156566473B60}"/>
          </ac:spMkLst>
        </pc:spChg>
        <pc:picChg chg="mod">
          <ac:chgData name="Jobst, Hanna" userId="e86661fe-1388-4b75-a8f7-53b9f30bf181" providerId="ADAL" clId="{AA985991-91B9-3843-B3EC-9FE593DD6E37}" dt="2023-12-05T15:51:54.610" v="1443" actId="1035"/>
          <ac:picMkLst>
            <pc:docMk/>
            <pc:sldMk cId="2915014058" sldId="355"/>
            <ac:picMk id="10" creationId="{E440C814-3594-742D-F847-8661818C503E}"/>
          </ac:picMkLst>
        </pc:picChg>
      </pc:sldChg>
      <pc:sldMasterChg chg="addSp delSp modSp mod modSldLayout">
        <pc:chgData name="Jobst, Hanna" userId="e86661fe-1388-4b75-a8f7-53b9f30bf181" providerId="ADAL" clId="{AA985991-91B9-3843-B3EC-9FE593DD6E37}" dt="2023-12-04T15:30:36.637" v="1003"/>
        <pc:sldMasterMkLst>
          <pc:docMk/>
          <pc:sldMasterMk cId="159005196" sldId="2147483693"/>
        </pc:sldMasterMkLst>
        <pc:spChg chg="add del">
          <ac:chgData name="Jobst, Hanna" userId="e86661fe-1388-4b75-a8f7-53b9f30bf181" providerId="ADAL" clId="{AA985991-91B9-3843-B3EC-9FE593DD6E37}" dt="2023-12-04T15:30:36.637" v="1003"/>
          <ac:spMkLst>
            <pc:docMk/>
            <pc:sldMasterMk cId="159005196" sldId="2147483693"/>
            <ac:spMk id="4" creationId="{DDD440FC-859D-4521-8908-A802F3E53507}"/>
          </ac:spMkLst>
        </pc:spChg>
        <pc:spChg chg="add del">
          <ac:chgData name="Jobst, Hanna" userId="e86661fe-1388-4b75-a8f7-53b9f30bf181" providerId="ADAL" clId="{AA985991-91B9-3843-B3EC-9FE593DD6E37}" dt="2023-12-04T15:30:01.056" v="993"/>
          <ac:spMkLst>
            <pc:docMk/>
            <pc:sldMasterMk cId="159005196" sldId="2147483693"/>
            <ac:spMk id="5" creationId="{588C6C66-9703-4B53-BAF2-1F89587F3CF5}"/>
          </ac:spMkLst>
        </pc:spChg>
        <pc:spChg chg="add del mod">
          <ac:chgData name="Jobst, Hanna" userId="e86661fe-1388-4b75-a8f7-53b9f30bf181" providerId="ADAL" clId="{AA985991-91B9-3843-B3EC-9FE593DD6E37}" dt="2023-12-04T15:30:00.040" v="992"/>
          <ac:spMkLst>
            <pc:docMk/>
            <pc:sldMasterMk cId="159005196" sldId="2147483693"/>
            <ac:spMk id="8" creationId="{F7966645-961C-1FC9-C3FC-391A914324DE}"/>
          </ac:spMkLst>
        </pc:spChg>
        <pc:spChg chg="add del mod">
          <ac:chgData name="Jobst, Hanna" userId="e86661fe-1388-4b75-a8f7-53b9f30bf181" providerId="ADAL" clId="{AA985991-91B9-3843-B3EC-9FE593DD6E37}" dt="2023-12-04T15:30:26.128" v="997"/>
          <ac:spMkLst>
            <pc:docMk/>
            <pc:sldMasterMk cId="159005196" sldId="2147483693"/>
            <ac:spMk id="36" creationId="{3F2A8079-4003-55FD-FA3E-C297CCCFB76F}"/>
          </ac:spMkLst>
        </pc:spChg>
        <pc:spChg chg="add del mod">
          <ac:chgData name="Jobst, Hanna" userId="e86661fe-1388-4b75-a8f7-53b9f30bf181" providerId="ADAL" clId="{AA985991-91B9-3843-B3EC-9FE593DD6E37}" dt="2023-12-04T15:30:27.127" v="999"/>
          <ac:spMkLst>
            <pc:docMk/>
            <pc:sldMasterMk cId="159005196" sldId="2147483693"/>
            <ac:spMk id="39" creationId="{A12D5A4A-8440-11DC-2B5A-16F78637127C}"/>
          </ac:spMkLst>
        </pc:spChg>
        <pc:spChg chg="add del mod">
          <ac:chgData name="Jobst, Hanna" userId="e86661fe-1388-4b75-a8f7-53b9f30bf181" providerId="ADAL" clId="{AA985991-91B9-3843-B3EC-9FE593DD6E37}" dt="2023-12-04T15:30:35.850" v="1002"/>
          <ac:spMkLst>
            <pc:docMk/>
            <pc:sldMasterMk cId="159005196" sldId="2147483693"/>
            <ac:spMk id="45" creationId="{88F02E77-BDDB-0768-CAB4-65E6E1491089}"/>
          </ac:spMkLst>
        </pc:sp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251941058" sldId="2147483695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251941058" sldId="2147483695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251941058" sldId="2147483695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2176005420" sldId="2147483696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2176005420" sldId="2147483696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2176005420" sldId="2147483696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479716550" sldId="2147483697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479716550" sldId="2147483697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479716550" sldId="2147483697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1409702888" sldId="2147483698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1409702888" sldId="2147483698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1409702888" sldId="2147483698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3559413871" sldId="2147483699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3559413871" sldId="2147483699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3559413871" sldId="2147483699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466738167" sldId="2147483700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466738167" sldId="2147483700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466738167" sldId="2147483700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3666463375" sldId="2147483701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3666463375" sldId="2147483701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3666463375" sldId="2147483701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2412820869" sldId="2147483702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2412820869" sldId="2147483702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2412820869" sldId="2147483702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2340850207" sldId="2147483704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2340850207" sldId="2147483704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2340850207" sldId="2147483704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4162744992" sldId="2147483705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4162744992" sldId="2147483705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4162744992" sldId="2147483705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3672189256" sldId="2147483706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3672189256" sldId="2147483706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3672189256" sldId="2147483706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3285443023" sldId="2147483707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3285443023" sldId="2147483707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3285443023" sldId="2147483707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1557775664" sldId="2147483708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1557775664" sldId="2147483708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1557775664" sldId="2147483708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1018579216" sldId="2147483709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1018579216" sldId="2147483709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1018579216" sldId="2147483709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2943029126" sldId="2147483710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2943029126" sldId="2147483710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2943029126" sldId="2147483710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3102481130" sldId="2147483711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3102481130" sldId="2147483711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3102481130" sldId="2147483711"/>
              <ac:spMk id="4" creationId="{E0F6FD0B-B0A5-4052-BAB6-95BD027E8CD0}"/>
            </ac:spMkLst>
          </pc:spChg>
        </pc:sldLayoutChg>
        <pc:sldLayoutChg chg="modSp">
          <pc:chgData name="Jobst, Hanna" userId="e86661fe-1388-4b75-a8f7-53b9f30bf181" providerId="ADAL" clId="{AA985991-91B9-3843-B3EC-9FE593DD6E37}" dt="2023-12-04T15:30:36.637" v="1003"/>
          <pc:sldLayoutMkLst>
            <pc:docMk/>
            <pc:sldMasterMk cId="159005196" sldId="2147483693"/>
            <pc:sldLayoutMk cId="4035489584" sldId="2147483712"/>
          </pc:sldLayoutMkLst>
          <pc:spChg chg="mod">
            <ac:chgData name="Jobst, Hanna" userId="e86661fe-1388-4b75-a8f7-53b9f30bf181" providerId="ADAL" clId="{AA985991-91B9-3843-B3EC-9FE593DD6E37}" dt="2023-12-04T15:30:36.637" v="1003"/>
            <ac:spMkLst>
              <pc:docMk/>
              <pc:sldMasterMk cId="159005196" sldId="2147483693"/>
              <pc:sldLayoutMk cId="4035489584" sldId="2147483712"/>
              <ac:spMk id="3" creationId="{75E0522E-4B59-4195-AD23-1DB4381AB666}"/>
            </ac:spMkLst>
          </pc:spChg>
          <pc:spChg chg="mod">
            <ac:chgData name="Jobst, Hanna" userId="e86661fe-1388-4b75-a8f7-53b9f30bf181" providerId="ADAL" clId="{AA985991-91B9-3843-B3EC-9FE593DD6E37}" dt="2023-12-04T15:30:01.056" v="993"/>
            <ac:spMkLst>
              <pc:docMk/>
              <pc:sldMasterMk cId="159005196" sldId="2147483693"/>
              <pc:sldLayoutMk cId="4035489584" sldId="2147483712"/>
              <ac:spMk id="4" creationId="{E0F6FD0B-B0A5-4052-BAB6-95BD027E8CD0}"/>
            </ac:spMkLst>
          </pc:spChg>
        </pc:sldLayoutChg>
      </pc:sldMasterChg>
    </pc:docChg>
  </pc:docChgLst>
  <pc:docChgLst>
    <pc:chgData name="Fourati, Omar" userId="543b926d-baf3-4e4d-861e-19746c37446c" providerId="ADAL" clId="{D9C6748F-8EBB-4A2B-B4C4-1DE7F8BA3C26}"/>
    <pc:docChg chg="undo custSel addSld delSld modSld sldOrd">
      <pc:chgData name="Fourati, Omar" userId="543b926d-baf3-4e4d-861e-19746c37446c" providerId="ADAL" clId="{D9C6748F-8EBB-4A2B-B4C4-1DE7F8BA3C26}" dt="2024-02-07T15:02:24.932" v="1245" actId="20577"/>
      <pc:docMkLst>
        <pc:docMk/>
      </pc:docMkLst>
      <pc:sldChg chg="modSp">
        <pc:chgData name="Fourati, Omar" userId="543b926d-baf3-4e4d-861e-19746c37446c" providerId="ADAL" clId="{D9C6748F-8EBB-4A2B-B4C4-1DE7F8BA3C26}" dt="2024-02-06T15:20:27.521" v="98"/>
        <pc:sldMkLst>
          <pc:docMk/>
          <pc:sldMk cId="482519800" sldId="365"/>
        </pc:sldMkLst>
        <pc:picChg chg="mod">
          <ac:chgData name="Fourati, Omar" userId="543b926d-baf3-4e4d-861e-19746c37446c" providerId="ADAL" clId="{D9C6748F-8EBB-4A2B-B4C4-1DE7F8BA3C26}" dt="2024-02-06T15:20:27.521" v="98"/>
          <ac:picMkLst>
            <pc:docMk/>
            <pc:sldMk cId="482519800" sldId="365"/>
            <ac:picMk id="36" creationId="{EAA3F800-ECE4-4A16-5DC5-45C62A840622}"/>
          </ac:picMkLst>
        </pc:picChg>
        <pc:picChg chg="mod">
          <ac:chgData name="Fourati, Omar" userId="543b926d-baf3-4e4d-861e-19746c37446c" providerId="ADAL" clId="{D9C6748F-8EBB-4A2B-B4C4-1DE7F8BA3C26}" dt="2024-02-06T15:20:27.521" v="98"/>
          <ac:picMkLst>
            <pc:docMk/>
            <pc:sldMk cId="482519800" sldId="365"/>
            <ac:picMk id="37" creationId="{661CB7B4-E2D4-2092-644C-4114A3EFA9FB}"/>
          </ac:picMkLst>
        </pc:picChg>
        <pc:picChg chg="mod">
          <ac:chgData name="Fourati, Omar" userId="543b926d-baf3-4e4d-861e-19746c37446c" providerId="ADAL" clId="{D9C6748F-8EBB-4A2B-B4C4-1DE7F8BA3C26}" dt="2024-02-06T15:20:27.521" v="98"/>
          <ac:picMkLst>
            <pc:docMk/>
            <pc:sldMk cId="482519800" sldId="365"/>
            <ac:picMk id="1026" creationId="{84A7CAE5-AF3D-72FC-D284-C377B291B0E7}"/>
          </ac:picMkLst>
        </pc:picChg>
      </pc:sldChg>
      <pc:sldChg chg="delSp modSp del mod">
        <pc:chgData name="Fourati, Omar" userId="543b926d-baf3-4e4d-861e-19746c37446c" providerId="ADAL" clId="{D9C6748F-8EBB-4A2B-B4C4-1DE7F8BA3C26}" dt="2024-02-06T17:03:59.371" v="584" actId="47"/>
        <pc:sldMkLst>
          <pc:docMk/>
          <pc:sldMk cId="2795682569" sldId="373"/>
        </pc:sldMkLst>
        <pc:spChg chg="mod">
          <ac:chgData name="Fourati, Omar" userId="543b926d-baf3-4e4d-861e-19746c37446c" providerId="ADAL" clId="{D9C6748F-8EBB-4A2B-B4C4-1DE7F8BA3C26}" dt="2024-02-06T16:58:04.908" v="562" actId="20577"/>
          <ac:spMkLst>
            <pc:docMk/>
            <pc:sldMk cId="2795682569" sldId="373"/>
            <ac:spMk id="15" creationId="{65A76C98-C3AC-6AE7-40D2-71352AB0CEDD}"/>
          </ac:spMkLst>
        </pc:spChg>
        <pc:spChg chg="del">
          <ac:chgData name="Fourati, Omar" userId="543b926d-baf3-4e4d-861e-19746c37446c" providerId="ADAL" clId="{D9C6748F-8EBB-4A2B-B4C4-1DE7F8BA3C26}" dt="2024-02-06T16:58:08.596" v="563" actId="478"/>
          <ac:spMkLst>
            <pc:docMk/>
            <pc:sldMk cId="2795682569" sldId="373"/>
            <ac:spMk id="16" creationId="{935ECE03-B82C-FDA3-3AFC-D5483C2A1F28}"/>
          </ac:spMkLst>
        </pc:spChg>
      </pc:sldChg>
      <pc:sldChg chg="delSp modSp mod">
        <pc:chgData name="Fourati, Omar" userId="543b926d-baf3-4e4d-861e-19746c37446c" providerId="ADAL" clId="{D9C6748F-8EBB-4A2B-B4C4-1DE7F8BA3C26}" dt="2024-02-06T15:22:27.733" v="114" actId="1076"/>
        <pc:sldMkLst>
          <pc:docMk/>
          <pc:sldMk cId="4236777214" sldId="374"/>
        </pc:sldMkLst>
        <pc:spChg chg="mod">
          <ac:chgData name="Fourati, Omar" userId="543b926d-baf3-4e4d-861e-19746c37446c" providerId="ADAL" clId="{D9C6748F-8EBB-4A2B-B4C4-1DE7F8BA3C26}" dt="2024-02-06T15:22:24.822" v="113" actId="1076"/>
          <ac:spMkLst>
            <pc:docMk/>
            <pc:sldMk cId="4236777214" sldId="374"/>
            <ac:spMk id="7" creationId="{C787C9AD-3626-3F15-7F2D-A70CCD323B07}"/>
          </ac:spMkLst>
        </pc:spChg>
        <pc:picChg chg="mod">
          <ac:chgData name="Fourati, Omar" userId="543b926d-baf3-4e4d-861e-19746c37446c" providerId="ADAL" clId="{D9C6748F-8EBB-4A2B-B4C4-1DE7F8BA3C26}" dt="2024-02-06T15:22:27.733" v="114" actId="1076"/>
          <ac:picMkLst>
            <pc:docMk/>
            <pc:sldMk cId="4236777214" sldId="374"/>
            <ac:picMk id="18" creationId="{E5C454DD-A122-AE7F-3344-0C5430313405}"/>
          </ac:picMkLst>
        </pc:picChg>
        <pc:picChg chg="del mod">
          <ac:chgData name="Fourati, Omar" userId="543b926d-baf3-4e4d-861e-19746c37446c" providerId="ADAL" clId="{D9C6748F-8EBB-4A2B-B4C4-1DE7F8BA3C26}" dt="2024-02-06T15:22:02.851" v="110" actId="21"/>
          <ac:picMkLst>
            <pc:docMk/>
            <pc:sldMk cId="4236777214" sldId="374"/>
            <ac:picMk id="24" creationId="{247012D1-6022-68B2-6059-B1D3C0D76646}"/>
          </ac:picMkLst>
        </pc:picChg>
        <pc:picChg chg="del mod">
          <ac:chgData name="Fourati, Omar" userId="543b926d-baf3-4e4d-861e-19746c37446c" providerId="ADAL" clId="{D9C6748F-8EBB-4A2B-B4C4-1DE7F8BA3C26}" dt="2024-02-06T15:22:02.851" v="110" actId="21"/>
          <ac:picMkLst>
            <pc:docMk/>
            <pc:sldMk cId="4236777214" sldId="374"/>
            <ac:picMk id="26" creationId="{CC11D1C2-B3B3-DD5B-93A0-CC94589693CF}"/>
          </ac:picMkLst>
        </pc:picChg>
      </pc:sldChg>
      <pc:sldChg chg="delSp modSp mod">
        <pc:chgData name="Fourati, Omar" userId="543b926d-baf3-4e4d-861e-19746c37446c" providerId="ADAL" clId="{D9C6748F-8EBB-4A2B-B4C4-1DE7F8BA3C26}" dt="2024-02-06T16:59:54.409" v="569" actId="1076"/>
        <pc:sldMkLst>
          <pc:docMk/>
          <pc:sldMk cId="3887009211" sldId="375"/>
        </pc:sldMkLst>
        <pc:spChg chg="mod">
          <ac:chgData name="Fourati, Omar" userId="543b926d-baf3-4e4d-861e-19746c37446c" providerId="ADAL" clId="{D9C6748F-8EBB-4A2B-B4C4-1DE7F8BA3C26}" dt="2024-02-06T15:54:10.865" v="317" actId="1076"/>
          <ac:spMkLst>
            <pc:docMk/>
            <pc:sldMk cId="3887009211" sldId="375"/>
            <ac:spMk id="7" creationId="{FE577927-6A20-8760-6501-F09C9A62E2B5}"/>
          </ac:spMkLst>
        </pc:spChg>
        <pc:picChg chg="del">
          <ac:chgData name="Fourati, Omar" userId="543b926d-baf3-4e4d-861e-19746c37446c" providerId="ADAL" clId="{D9C6748F-8EBB-4A2B-B4C4-1DE7F8BA3C26}" dt="2024-02-06T15:19:38.550" v="93" actId="478"/>
          <ac:picMkLst>
            <pc:docMk/>
            <pc:sldMk cId="3887009211" sldId="375"/>
            <ac:picMk id="5" creationId="{9806220D-1FB1-FAE4-003B-F82A9A0E56E7}"/>
          </ac:picMkLst>
        </pc:picChg>
        <pc:picChg chg="mod">
          <ac:chgData name="Fourati, Omar" userId="543b926d-baf3-4e4d-861e-19746c37446c" providerId="ADAL" clId="{D9C6748F-8EBB-4A2B-B4C4-1DE7F8BA3C26}" dt="2024-02-06T16:59:54.409" v="569" actId="1076"/>
          <ac:picMkLst>
            <pc:docMk/>
            <pc:sldMk cId="3887009211" sldId="375"/>
            <ac:picMk id="20" creationId="{769FDF93-F704-EA6C-B1BE-CD9D8A2AEE1C}"/>
          </ac:picMkLst>
        </pc:picChg>
      </pc:sldChg>
      <pc:sldChg chg="addSp modSp mod ord">
        <pc:chgData name="Fourati, Omar" userId="543b926d-baf3-4e4d-861e-19746c37446c" providerId="ADAL" clId="{D9C6748F-8EBB-4A2B-B4C4-1DE7F8BA3C26}" dt="2024-02-06T17:11:31.335" v="614" actId="20577"/>
        <pc:sldMkLst>
          <pc:docMk/>
          <pc:sldMk cId="932072143" sldId="376"/>
        </pc:sldMkLst>
        <pc:spChg chg="mod">
          <ac:chgData name="Fourati, Omar" userId="543b926d-baf3-4e4d-861e-19746c37446c" providerId="ADAL" clId="{D9C6748F-8EBB-4A2B-B4C4-1DE7F8BA3C26}" dt="2024-02-06T17:11:31.335" v="614" actId="20577"/>
          <ac:spMkLst>
            <pc:docMk/>
            <pc:sldMk cId="932072143" sldId="376"/>
            <ac:spMk id="9" creationId="{905F841D-7454-AF98-A962-AEAC5A276314}"/>
          </ac:spMkLst>
        </pc:spChg>
        <pc:spChg chg="add mod">
          <ac:chgData name="Fourati, Omar" userId="543b926d-baf3-4e4d-861e-19746c37446c" providerId="ADAL" clId="{D9C6748F-8EBB-4A2B-B4C4-1DE7F8BA3C26}" dt="2024-02-06T16:09:58.108" v="542" actId="20577"/>
          <ac:spMkLst>
            <pc:docMk/>
            <pc:sldMk cId="932072143" sldId="376"/>
            <ac:spMk id="10" creationId="{4729C333-0AE6-168C-D8C2-B95FF24B4C28}"/>
          </ac:spMkLst>
        </pc:spChg>
        <pc:spChg chg="mod">
          <ac:chgData name="Fourati, Omar" userId="543b926d-baf3-4e4d-861e-19746c37446c" providerId="ADAL" clId="{D9C6748F-8EBB-4A2B-B4C4-1DE7F8BA3C26}" dt="2024-02-06T16:07:22.246" v="525" actId="20577"/>
          <ac:spMkLst>
            <pc:docMk/>
            <pc:sldMk cId="932072143" sldId="376"/>
            <ac:spMk id="15" creationId="{06D75A5A-D7C5-D6AA-ED13-938185996565}"/>
          </ac:spMkLst>
        </pc:spChg>
        <pc:picChg chg="add mod">
          <ac:chgData name="Fourati, Omar" userId="543b926d-baf3-4e4d-861e-19746c37446c" providerId="ADAL" clId="{D9C6748F-8EBB-4A2B-B4C4-1DE7F8BA3C26}" dt="2024-02-06T16:07:36.904" v="541" actId="1076"/>
          <ac:picMkLst>
            <pc:docMk/>
            <pc:sldMk cId="932072143" sldId="376"/>
            <ac:picMk id="7" creationId="{AE9A6FAC-C678-B2C8-1AB9-D356C5CA9DFD}"/>
          </ac:picMkLst>
        </pc:picChg>
      </pc:sldChg>
      <pc:sldChg chg="addSp delSp modSp new del mod">
        <pc:chgData name="Fourati, Omar" userId="543b926d-baf3-4e4d-861e-19746c37446c" providerId="ADAL" clId="{D9C6748F-8EBB-4A2B-B4C4-1DE7F8BA3C26}" dt="2024-02-06T15:25:27.350" v="128" actId="47"/>
        <pc:sldMkLst>
          <pc:docMk/>
          <pc:sldMk cId="2196357798" sldId="383"/>
        </pc:sldMkLst>
        <pc:picChg chg="add del mod">
          <ac:chgData name="Fourati, Omar" userId="543b926d-baf3-4e4d-861e-19746c37446c" providerId="ADAL" clId="{D9C6748F-8EBB-4A2B-B4C4-1DE7F8BA3C26}" dt="2024-02-06T15:22:40.568" v="118" actId="21"/>
          <ac:picMkLst>
            <pc:docMk/>
            <pc:sldMk cId="2196357798" sldId="383"/>
            <ac:picMk id="24" creationId="{247012D1-6022-68B2-6059-B1D3C0D76646}"/>
          </ac:picMkLst>
        </pc:picChg>
        <pc:picChg chg="add del mod">
          <ac:chgData name="Fourati, Omar" userId="543b926d-baf3-4e4d-861e-19746c37446c" providerId="ADAL" clId="{D9C6748F-8EBB-4A2B-B4C4-1DE7F8BA3C26}" dt="2024-02-06T15:22:40.568" v="118" actId="21"/>
          <ac:picMkLst>
            <pc:docMk/>
            <pc:sldMk cId="2196357798" sldId="383"/>
            <ac:picMk id="26" creationId="{CC11D1C2-B3B3-DD5B-93A0-CC94589693CF}"/>
          </ac:picMkLst>
        </pc:picChg>
      </pc:sldChg>
      <pc:sldChg chg="addSp delSp modSp add mod">
        <pc:chgData name="Fourati, Omar" userId="543b926d-baf3-4e4d-861e-19746c37446c" providerId="ADAL" clId="{D9C6748F-8EBB-4A2B-B4C4-1DE7F8BA3C26}" dt="2024-02-06T15:23:07.631" v="127" actId="1076"/>
        <pc:sldMkLst>
          <pc:docMk/>
          <pc:sldMk cId="168182596" sldId="384"/>
        </pc:sldMkLst>
        <pc:spChg chg="del">
          <ac:chgData name="Fourati, Omar" userId="543b926d-baf3-4e4d-861e-19746c37446c" providerId="ADAL" clId="{D9C6748F-8EBB-4A2B-B4C4-1DE7F8BA3C26}" dt="2024-02-06T15:22:44.353" v="119" actId="478"/>
          <ac:spMkLst>
            <pc:docMk/>
            <pc:sldMk cId="168182596" sldId="384"/>
            <ac:spMk id="7" creationId="{E7DB7D3E-F9F0-6AA1-4828-89C6508EDB72}"/>
          </ac:spMkLst>
        </pc:spChg>
        <pc:picChg chg="del">
          <ac:chgData name="Fourati, Omar" userId="543b926d-baf3-4e4d-861e-19746c37446c" providerId="ADAL" clId="{D9C6748F-8EBB-4A2B-B4C4-1DE7F8BA3C26}" dt="2024-02-06T15:22:44.353" v="119" actId="478"/>
          <ac:picMkLst>
            <pc:docMk/>
            <pc:sldMk cId="168182596" sldId="384"/>
            <ac:picMk id="18" creationId="{87C6010D-23D1-62CA-BBBC-37BCD7E53756}"/>
          </ac:picMkLst>
        </pc:picChg>
        <pc:picChg chg="add mod">
          <ac:chgData name="Fourati, Omar" userId="543b926d-baf3-4e4d-861e-19746c37446c" providerId="ADAL" clId="{D9C6748F-8EBB-4A2B-B4C4-1DE7F8BA3C26}" dt="2024-02-06T15:23:02.443" v="126" actId="1076"/>
          <ac:picMkLst>
            <pc:docMk/>
            <pc:sldMk cId="168182596" sldId="384"/>
            <ac:picMk id="24" creationId="{247012D1-6022-68B2-6059-B1D3C0D76646}"/>
          </ac:picMkLst>
        </pc:picChg>
        <pc:picChg chg="add mod">
          <ac:chgData name="Fourati, Omar" userId="543b926d-baf3-4e4d-861e-19746c37446c" providerId="ADAL" clId="{D9C6748F-8EBB-4A2B-B4C4-1DE7F8BA3C26}" dt="2024-02-06T15:23:07.631" v="127" actId="1076"/>
          <ac:picMkLst>
            <pc:docMk/>
            <pc:sldMk cId="168182596" sldId="384"/>
            <ac:picMk id="26" creationId="{CC11D1C2-B3B3-DD5B-93A0-CC94589693CF}"/>
          </ac:picMkLst>
        </pc:picChg>
      </pc:sldChg>
      <pc:sldChg chg="addSp delSp modSp add mod">
        <pc:chgData name="Fourati, Omar" userId="543b926d-baf3-4e4d-861e-19746c37446c" providerId="ADAL" clId="{D9C6748F-8EBB-4A2B-B4C4-1DE7F8BA3C26}" dt="2024-02-07T14:54:37.892" v="896" actId="20577"/>
        <pc:sldMkLst>
          <pc:docMk/>
          <pc:sldMk cId="3184284025" sldId="385"/>
        </pc:sldMkLst>
        <pc:spChg chg="mod">
          <ac:chgData name="Fourati, Omar" userId="543b926d-baf3-4e4d-861e-19746c37446c" providerId="ADAL" clId="{D9C6748F-8EBB-4A2B-B4C4-1DE7F8BA3C26}" dt="2024-02-07T14:54:37.892" v="896" actId="20577"/>
          <ac:spMkLst>
            <pc:docMk/>
            <pc:sldMk cId="3184284025" sldId="385"/>
            <ac:spMk id="10" creationId="{E31622D7-B651-D5C9-6B0B-68161795BB00}"/>
          </ac:spMkLst>
        </pc:spChg>
        <pc:spChg chg="mod">
          <ac:chgData name="Fourati, Omar" userId="543b926d-baf3-4e4d-861e-19746c37446c" providerId="ADAL" clId="{D9C6748F-8EBB-4A2B-B4C4-1DE7F8BA3C26}" dt="2024-02-06T16:58:43.164" v="566" actId="207"/>
          <ac:spMkLst>
            <pc:docMk/>
            <pc:sldMk cId="3184284025" sldId="385"/>
            <ac:spMk id="12" creationId="{63D0ACEB-2A0F-8ACB-15F9-FEEE111A3E0A}"/>
          </ac:spMkLst>
        </pc:spChg>
        <pc:spChg chg="mod">
          <ac:chgData name="Fourati, Omar" userId="543b926d-baf3-4e4d-861e-19746c37446c" providerId="ADAL" clId="{D9C6748F-8EBB-4A2B-B4C4-1DE7F8BA3C26}" dt="2024-02-06T17:19:48.877" v="735" actId="20577"/>
          <ac:spMkLst>
            <pc:docMk/>
            <pc:sldMk cId="3184284025" sldId="385"/>
            <ac:spMk id="13" creationId="{B73A9342-5DFF-4F29-7A2D-A9315F923055}"/>
          </ac:spMkLst>
        </pc:spChg>
        <pc:spChg chg="mod">
          <ac:chgData name="Fourati, Omar" userId="543b926d-baf3-4e4d-861e-19746c37446c" providerId="ADAL" clId="{D9C6748F-8EBB-4A2B-B4C4-1DE7F8BA3C26}" dt="2024-02-06T17:20:12.397" v="741" actId="20577"/>
          <ac:spMkLst>
            <pc:docMk/>
            <pc:sldMk cId="3184284025" sldId="385"/>
            <ac:spMk id="14" creationId="{1DB636EB-AD38-264A-1C78-3AC87675D7C3}"/>
          </ac:spMkLst>
        </pc:spChg>
        <pc:spChg chg="mod">
          <ac:chgData name="Fourati, Omar" userId="543b926d-baf3-4e4d-861e-19746c37446c" providerId="ADAL" clId="{D9C6748F-8EBB-4A2B-B4C4-1DE7F8BA3C26}" dt="2024-02-06T17:04:38.119" v="589"/>
          <ac:spMkLst>
            <pc:docMk/>
            <pc:sldMk cId="3184284025" sldId="385"/>
            <ac:spMk id="15" creationId="{2FFA3FD0-DE13-E925-FBEA-B08B524826CF}"/>
          </ac:spMkLst>
        </pc:spChg>
        <pc:picChg chg="del">
          <ac:chgData name="Fourati, Omar" userId="543b926d-baf3-4e4d-861e-19746c37446c" providerId="ADAL" clId="{D9C6748F-8EBB-4A2B-B4C4-1DE7F8BA3C26}" dt="2024-02-06T17:12:50.644" v="620" actId="478"/>
          <ac:picMkLst>
            <pc:docMk/>
            <pc:sldMk cId="3184284025" sldId="385"/>
            <ac:picMk id="7" creationId="{EE64C0D6-266A-9115-7B0C-43F2B0F73ACD}"/>
          </ac:picMkLst>
        </pc:picChg>
        <pc:picChg chg="add mod">
          <ac:chgData name="Fourati, Omar" userId="543b926d-baf3-4e4d-861e-19746c37446c" providerId="ADAL" clId="{D9C6748F-8EBB-4A2B-B4C4-1DE7F8BA3C26}" dt="2024-02-06T17:22:23.859" v="747" actId="1076"/>
          <ac:picMkLst>
            <pc:docMk/>
            <pc:sldMk cId="3184284025" sldId="385"/>
            <ac:picMk id="16" creationId="{EF5CAA7E-2842-FAF5-579B-0B138246BEC4}"/>
          </ac:picMkLst>
        </pc:picChg>
      </pc:sldChg>
      <pc:sldChg chg="modSp add mod">
        <pc:chgData name="Fourati, Omar" userId="543b926d-baf3-4e4d-861e-19746c37446c" providerId="ADAL" clId="{D9C6748F-8EBB-4A2B-B4C4-1DE7F8BA3C26}" dt="2024-02-06T17:27:31.872" v="893" actId="1076"/>
        <pc:sldMkLst>
          <pc:docMk/>
          <pc:sldMk cId="3321945845" sldId="386"/>
        </pc:sldMkLst>
        <pc:spChg chg="mod">
          <ac:chgData name="Fourati, Omar" userId="543b926d-baf3-4e4d-861e-19746c37446c" providerId="ADAL" clId="{D9C6748F-8EBB-4A2B-B4C4-1DE7F8BA3C26}" dt="2024-02-06T17:27:24.594" v="892" actId="20577"/>
          <ac:spMkLst>
            <pc:docMk/>
            <pc:sldMk cId="3321945845" sldId="386"/>
            <ac:spMk id="10" creationId="{AE0D5B29-072A-643C-1B3B-B8B2CED4D3E4}"/>
          </ac:spMkLst>
        </pc:spChg>
        <pc:spChg chg="mod">
          <ac:chgData name="Fourati, Omar" userId="543b926d-baf3-4e4d-861e-19746c37446c" providerId="ADAL" clId="{D9C6748F-8EBB-4A2B-B4C4-1DE7F8BA3C26}" dt="2024-02-06T17:00:10.839" v="571" actId="207"/>
          <ac:spMkLst>
            <pc:docMk/>
            <pc:sldMk cId="3321945845" sldId="386"/>
            <ac:spMk id="12" creationId="{33D45416-6147-EF55-945B-12340AD90F06}"/>
          </ac:spMkLst>
        </pc:spChg>
        <pc:spChg chg="mod">
          <ac:chgData name="Fourati, Omar" userId="543b926d-baf3-4e4d-861e-19746c37446c" providerId="ADAL" clId="{D9C6748F-8EBB-4A2B-B4C4-1DE7F8BA3C26}" dt="2024-02-06T17:20:02.054" v="736"/>
          <ac:spMkLst>
            <pc:docMk/>
            <pc:sldMk cId="3321945845" sldId="386"/>
            <ac:spMk id="13" creationId="{DAFF3A09-0D09-DFE1-F435-262D32E6B494}"/>
          </ac:spMkLst>
        </pc:spChg>
        <pc:spChg chg="mod">
          <ac:chgData name="Fourati, Omar" userId="543b926d-baf3-4e4d-861e-19746c37446c" providerId="ADAL" clId="{D9C6748F-8EBB-4A2B-B4C4-1DE7F8BA3C26}" dt="2024-02-06T17:20:15.976" v="742"/>
          <ac:spMkLst>
            <pc:docMk/>
            <pc:sldMk cId="3321945845" sldId="386"/>
            <ac:spMk id="14" creationId="{9555B63E-D52D-BF66-9A10-312189FC1420}"/>
          </ac:spMkLst>
        </pc:spChg>
        <pc:spChg chg="mod">
          <ac:chgData name="Fourati, Omar" userId="543b926d-baf3-4e4d-861e-19746c37446c" providerId="ADAL" clId="{D9C6748F-8EBB-4A2B-B4C4-1DE7F8BA3C26}" dt="2024-02-06T17:04:35.498" v="588"/>
          <ac:spMkLst>
            <pc:docMk/>
            <pc:sldMk cId="3321945845" sldId="386"/>
            <ac:spMk id="15" creationId="{060649A1-7718-2CFC-13E4-C9CFD7383D95}"/>
          </ac:spMkLst>
        </pc:spChg>
        <pc:picChg chg="mod">
          <ac:chgData name="Fourati, Omar" userId="543b926d-baf3-4e4d-861e-19746c37446c" providerId="ADAL" clId="{D9C6748F-8EBB-4A2B-B4C4-1DE7F8BA3C26}" dt="2024-02-06T17:27:31.872" v="893" actId="1076"/>
          <ac:picMkLst>
            <pc:docMk/>
            <pc:sldMk cId="3321945845" sldId="386"/>
            <ac:picMk id="7" creationId="{6172F3AD-ADB5-8573-B292-8785C3B8CE4F}"/>
          </ac:picMkLst>
        </pc:picChg>
      </pc:sldChg>
      <pc:sldChg chg="addSp delSp modSp add mod">
        <pc:chgData name="Fourati, Omar" userId="543b926d-baf3-4e4d-861e-19746c37446c" providerId="ADAL" clId="{D9C6748F-8EBB-4A2B-B4C4-1DE7F8BA3C26}" dt="2024-02-07T14:59:53" v="1011" actId="1076"/>
        <pc:sldMkLst>
          <pc:docMk/>
          <pc:sldMk cId="246774282" sldId="387"/>
        </pc:sldMkLst>
        <pc:spChg chg="mod">
          <ac:chgData name="Fourati, Omar" userId="543b926d-baf3-4e4d-861e-19746c37446c" providerId="ADAL" clId="{D9C6748F-8EBB-4A2B-B4C4-1DE7F8BA3C26}" dt="2024-02-07T14:59:09.896" v="1006" actId="20577"/>
          <ac:spMkLst>
            <pc:docMk/>
            <pc:sldMk cId="246774282" sldId="387"/>
            <ac:spMk id="10" creationId="{9823F2AE-7578-F14F-4B9C-91D767D11F03}"/>
          </ac:spMkLst>
        </pc:spChg>
        <pc:spChg chg="mod">
          <ac:chgData name="Fourati, Omar" userId="543b926d-baf3-4e4d-861e-19746c37446c" providerId="ADAL" clId="{D9C6748F-8EBB-4A2B-B4C4-1DE7F8BA3C26}" dt="2024-02-06T17:20:04.154" v="737"/>
          <ac:spMkLst>
            <pc:docMk/>
            <pc:sldMk cId="246774282" sldId="387"/>
            <ac:spMk id="13" creationId="{621DD53C-591F-213C-8A51-DBF388D17BAC}"/>
          </ac:spMkLst>
        </pc:spChg>
        <pc:spChg chg="mod">
          <ac:chgData name="Fourati, Omar" userId="543b926d-baf3-4e4d-861e-19746c37446c" providerId="ADAL" clId="{D9C6748F-8EBB-4A2B-B4C4-1DE7F8BA3C26}" dt="2024-02-06T17:20:17.767" v="743"/>
          <ac:spMkLst>
            <pc:docMk/>
            <pc:sldMk cId="246774282" sldId="387"/>
            <ac:spMk id="14" creationId="{0775FB60-1175-2091-E9A4-2EA88462FD1E}"/>
          </ac:spMkLst>
        </pc:spChg>
        <pc:spChg chg="mod">
          <ac:chgData name="Fourati, Omar" userId="543b926d-baf3-4e4d-861e-19746c37446c" providerId="ADAL" clId="{D9C6748F-8EBB-4A2B-B4C4-1DE7F8BA3C26}" dt="2024-02-06T17:04:33.297" v="587"/>
          <ac:spMkLst>
            <pc:docMk/>
            <pc:sldMk cId="246774282" sldId="387"/>
            <ac:spMk id="15" creationId="{73CB995B-8D49-DB27-DBD0-9CCAC84D84B9}"/>
          </ac:spMkLst>
        </pc:spChg>
        <pc:picChg chg="del mod">
          <ac:chgData name="Fourati, Omar" userId="543b926d-baf3-4e4d-861e-19746c37446c" providerId="ADAL" clId="{D9C6748F-8EBB-4A2B-B4C4-1DE7F8BA3C26}" dt="2024-02-07T14:59:42.069" v="1008" actId="478"/>
          <ac:picMkLst>
            <pc:docMk/>
            <pc:sldMk cId="246774282" sldId="387"/>
            <ac:picMk id="7" creationId="{2CEF49D2-DCD7-A92B-B4CD-83A2B5B425FA}"/>
          </ac:picMkLst>
        </pc:picChg>
        <pc:picChg chg="add mod">
          <ac:chgData name="Fourati, Omar" userId="543b926d-baf3-4e4d-861e-19746c37446c" providerId="ADAL" clId="{D9C6748F-8EBB-4A2B-B4C4-1DE7F8BA3C26}" dt="2024-02-07T14:59:53" v="1011" actId="1076"/>
          <ac:picMkLst>
            <pc:docMk/>
            <pc:sldMk cId="246774282" sldId="387"/>
            <ac:picMk id="16" creationId="{FEEBEC0D-258F-0E95-F5A7-C73ADB34AE07}"/>
          </ac:picMkLst>
        </pc:picChg>
      </pc:sldChg>
      <pc:sldChg chg="addSp delSp modSp add mod">
        <pc:chgData name="Fourati, Omar" userId="543b926d-baf3-4e4d-861e-19746c37446c" providerId="ADAL" clId="{D9C6748F-8EBB-4A2B-B4C4-1DE7F8BA3C26}" dt="2024-02-07T15:02:24.932" v="1245" actId="20577"/>
        <pc:sldMkLst>
          <pc:docMk/>
          <pc:sldMk cId="46430825" sldId="388"/>
        </pc:sldMkLst>
        <pc:spChg chg="mod">
          <ac:chgData name="Fourati, Omar" userId="543b926d-baf3-4e4d-861e-19746c37446c" providerId="ADAL" clId="{D9C6748F-8EBB-4A2B-B4C4-1DE7F8BA3C26}" dt="2024-02-07T15:02:24.932" v="1245" actId="20577"/>
          <ac:spMkLst>
            <pc:docMk/>
            <pc:sldMk cId="46430825" sldId="388"/>
            <ac:spMk id="10" creationId="{589E668E-366A-6540-6E3C-A5056C92B7F5}"/>
          </ac:spMkLst>
        </pc:spChg>
        <pc:spChg chg="mod">
          <ac:chgData name="Fourati, Omar" userId="543b926d-baf3-4e4d-861e-19746c37446c" providerId="ADAL" clId="{D9C6748F-8EBB-4A2B-B4C4-1DE7F8BA3C26}" dt="2024-02-06T17:20:06.152" v="738"/>
          <ac:spMkLst>
            <pc:docMk/>
            <pc:sldMk cId="46430825" sldId="388"/>
            <ac:spMk id="13" creationId="{51185AB1-FC60-8084-C303-F1E3E512894A}"/>
          </ac:spMkLst>
        </pc:spChg>
        <pc:spChg chg="mod">
          <ac:chgData name="Fourati, Omar" userId="543b926d-baf3-4e4d-861e-19746c37446c" providerId="ADAL" clId="{D9C6748F-8EBB-4A2B-B4C4-1DE7F8BA3C26}" dt="2024-02-06T17:20:19.500" v="744"/>
          <ac:spMkLst>
            <pc:docMk/>
            <pc:sldMk cId="46430825" sldId="388"/>
            <ac:spMk id="14" creationId="{7EB48954-414D-C085-23E3-315A506177E3}"/>
          </ac:spMkLst>
        </pc:spChg>
        <pc:spChg chg="mod">
          <ac:chgData name="Fourati, Omar" userId="543b926d-baf3-4e4d-861e-19746c37446c" providerId="ADAL" clId="{D9C6748F-8EBB-4A2B-B4C4-1DE7F8BA3C26}" dt="2024-02-06T17:03:55.010" v="583" actId="14100"/>
          <ac:spMkLst>
            <pc:docMk/>
            <pc:sldMk cId="46430825" sldId="388"/>
            <ac:spMk id="15" creationId="{7979A0E0-F20A-4E29-4100-BA29CFD19390}"/>
          </ac:spMkLst>
        </pc:spChg>
        <pc:picChg chg="del">
          <ac:chgData name="Fourati, Omar" userId="543b926d-baf3-4e4d-861e-19746c37446c" providerId="ADAL" clId="{D9C6748F-8EBB-4A2B-B4C4-1DE7F8BA3C26}" dt="2024-02-07T15:00:26.265" v="1013" actId="478"/>
          <ac:picMkLst>
            <pc:docMk/>
            <pc:sldMk cId="46430825" sldId="388"/>
            <ac:picMk id="7" creationId="{3E37908A-1B6C-A0F3-7E63-FF6A2CB66A03}"/>
          </ac:picMkLst>
        </pc:picChg>
        <pc:picChg chg="add mod">
          <ac:chgData name="Fourati, Omar" userId="543b926d-baf3-4e4d-861e-19746c37446c" providerId="ADAL" clId="{D9C6748F-8EBB-4A2B-B4C4-1DE7F8BA3C26}" dt="2024-02-07T15:00:36.401" v="1015" actId="1076"/>
          <ac:picMkLst>
            <pc:docMk/>
            <pc:sldMk cId="46430825" sldId="388"/>
            <ac:picMk id="16" creationId="{9AB9200A-64D1-A8D2-8E5A-1D58C0B688F5}"/>
          </ac:picMkLst>
        </pc:picChg>
      </pc:sldChg>
    </pc:docChg>
  </pc:docChgLst>
  <pc:docChgLst>
    <pc:chgData name="Fourati, Omar" userId="543b926d-baf3-4e4d-861e-19746c37446c" providerId="ADAL" clId="{354A9320-50F2-4432-95CC-BF175A4B08C6}"/>
    <pc:docChg chg="undo custSel addSld delSld modSld sldOrd">
      <pc:chgData name="Fourati, Omar" userId="543b926d-baf3-4e4d-861e-19746c37446c" providerId="ADAL" clId="{354A9320-50F2-4432-95CC-BF175A4B08C6}" dt="2023-12-05T16:07:09.743" v="2184" actId="1076"/>
      <pc:docMkLst>
        <pc:docMk/>
      </pc:docMkLst>
      <pc:sldChg chg="addSp delSp modSp mod">
        <pc:chgData name="Fourati, Omar" userId="543b926d-baf3-4e4d-861e-19746c37446c" providerId="ADAL" clId="{354A9320-50F2-4432-95CC-BF175A4B08C6}" dt="2023-12-05T16:06:17.225" v="2169"/>
        <pc:sldMkLst>
          <pc:docMk/>
          <pc:sldMk cId="3842158526" sldId="345"/>
        </pc:sldMkLst>
        <pc:spChg chg="mod">
          <ac:chgData name="Fourati, Omar" userId="543b926d-baf3-4e4d-861e-19746c37446c" providerId="ADAL" clId="{354A9320-50F2-4432-95CC-BF175A4B08C6}" dt="2023-12-05T16:06:17.225" v="2169"/>
          <ac:spMkLst>
            <pc:docMk/>
            <pc:sldMk cId="3842158526" sldId="345"/>
            <ac:spMk id="5" creationId="{6A962568-18E6-A1C1-002C-F0DCB4531BC6}"/>
          </ac:spMkLst>
        </pc:spChg>
        <pc:spChg chg="add del mod">
          <ac:chgData name="Fourati, Omar" userId="543b926d-baf3-4e4d-861e-19746c37446c" providerId="ADAL" clId="{354A9320-50F2-4432-95CC-BF175A4B08C6}" dt="2023-12-05T15:55:05.098" v="2083" actId="478"/>
          <ac:spMkLst>
            <pc:docMk/>
            <pc:sldMk cId="3842158526" sldId="345"/>
            <ac:spMk id="12" creationId="{C94A7372-E167-873A-D6A4-B11640A0FBB0}"/>
          </ac:spMkLst>
        </pc:spChg>
        <pc:spChg chg="add del mod">
          <ac:chgData name="Fourati, Omar" userId="543b926d-baf3-4e4d-861e-19746c37446c" providerId="ADAL" clId="{354A9320-50F2-4432-95CC-BF175A4B08C6}" dt="2023-12-05T15:55:40.513" v="2105" actId="478"/>
          <ac:spMkLst>
            <pc:docMk/>
            <pc:sldMk cId="3842158526" sldId="345"/>
            <ac:spMk id="13" creationId="{C9A7366A-67FF-9191-A7FD-8A53E67E62DB}"/>
          </ac:spMkLst>
        </pc:spChg>
        <pc:picChg chg="add del mod">
          <ac:chgData name="Fourati, Omar" userId="543b926d-baf3-4e4d-861e-19746c37446c" providerId="ADAL" clId="{354A9320-50F2-4432-95CC-BF175A4B08C6}" dt="2023-12-05T15:49:00.573" v="2051" actId="478"/>
          <ac:picMkLst>
            <pc:docMk/>
            <pc:sldMk cId="3842158526" sldId="345"/>
            <ac:picMk id="11" creationId="{ED7215C2-67FD-D785-AE7B-067EB282A56A}"/>
          </ac:picMkLst>
        </pc:picChg>
      </pc:sldChg>
      <pc:sldChg chg="addSp delSp modSp new mod setBg">
        <pc:chgData name="Fourati, Omar" userId="543b926d-baf3-4e4d-861e-19746c37446c" providerId="ADAL" clId="{354A9320-50F2-4432-95CC-BF175A4B08C6}" dt="2023-12-04T20:01:19.660" v="1557" actId="20577"/>
        <pc:sldMkLst>
          <pc:docMk/>
          <pc:sldMk cId="1217021714" sldId="348"/>
        </pc:sldMkLst>
        <pc:spChg chg="mod ord">
          <ac:chgData name="Fourati, Omar" userId="543b926d-baf3-4e4d-861e-19746c37446c" providerId="ADAL" clId="{354A9320-50F2-4432-95CC-BF175A4B08C6}" dt="2023-12-04T18:54:44.900" v="942" actId="26606"/>
          <ac:spMkLst>
            <pc:docMk/>
            <pc:sldMk cId="1217021714" sldId="348"/>
            <ac:spMk id="2" creationId="{84982039-3D55-B32F-9AAB-08D92C44BF4D}"/>
          </ac:spMkLst>
        </pc:spChg>
        <pc:spChg chg="mod ord">
          <ac:chgData name="Fourati, Omar" userId="543b926d-baf3-4e4d-861e-19746c37446c" providerId="ADAL" clId="{354A9320-50F2-4432-95CC-BF175A4B08C6}" dt="2023-12-04T18:54:44.900" v="942" actId="26606"/>
          <ac:spMkLst>
            <pc:docMk/>
            <pc:sldMk cId="1217021714" sldId="348"/>
            <ac:spMk id="3" creationId="{FF62FBF7-98BA-4F37-A9FC-7578EE12BEF1}"/>
          </ac:spMkLst>
        </pc:spChg>
        <pc:spChg chg="mod ord">
          <ac:chgData name="Fourati, Omar" userId="543b926d-baf3-4e4d-861e-19746c37446c" providerId="ADAL" clId="{354A9320-50F2-4432-95CC-BF175A4B08C6}" dt="2023-12-04T18:54:44.900" v="942" actId="26606"/>
          <ac:spMkLst>
            <pc:docMk/>
            <pc:sldMk cId="1217021714" sldId="348"/>
            <ac:spMk id="4" creationId="{44ECEE9F-9123-122D-3FE4-202E582179C0}"/>
          </ac:spMkLst>
        </pc:spChg>
        <pc:spChg chg="del mod">
          <ac:chgData name="Fourati, Omar" userId="543b926d-baf3-4e4d-861e-19746c37446c" providerId="ADAL" clId="{354A9320-50F2-4432-95CC-BF175A4B08C6}" dt="2023-12-04T18:53:49.750" v="938" actId="26606"/>
          <ac:spMkLst>
            <pc:docMk/>
            <pc:sldMk cId="1217021714" sldId="348"/>
            <ac:spMk id="5" creationId="{B9CA8E8C-8E81-57F4-845D-ED0FCC2FC3C6}"/>
          </ac:spMkLst>
        </pc:spChg>
        <pc:spChg chg="del mod ord">
          <ac:chgData name="Fourati, Omar" userId="543b926d-baf3-4e4d-861e-19746c37446c" providerId="ADAL" clId="{354A9320-50F2-4432-95CC-BF175A4B08C6}" dt="2023-12-04T19:01:05.691" v="1169" actId="478"/>
          <ac:spMkLst>
            <pc:docMk/>
            <pc:sldMk cId="1217021714" sldId="348"/>
            <ac:spMk id="6" creationId="{BA14D424-48EB-8C73-119C-CA355D334BAC}"/>
          </ac:spMkLst>
        </pc:spChg>
        <pc:spChg chg="del">
          <ac:chgData name="Fourati, Omar" userId="543b926d-baf3-4e4d-861e-19746c37446c" providerId="ADAL" clId="{354A9320-50F2-4432-95CC-BF175A4B08C6}" dt="2023-12-04T17:19:32.674" v="102" actId="478"/>
          <ac:spMkLst>
            <pc:docMk/>
            <pc:sldMk cId="1217021714" sldId="348"/>
            <ac:spMk id="7" creationId="{A06056EC-9A83-C042-5CEA-CACA497EB3DC}"/>
          </ac:spMkLst>
        </pc:spChg>
        <pc:spChg chg="add del">
          <ac:chgData name="Fourati, Omar" userId="543b926d-baf3-4e4d-861e-19746c37446c" providerId="ADAL" clId="{354A9320-50F2-4432-95CC-BF175A4B08C6}" dt="2023-12-04T18:54:44.900" v="942" actId="26606"/>
          <ac:spMkLst>
            <pc:docMk/>
            <pc:sldMk cId="1217021714" sldId="348"/>
            <ac:spMk id="8" creationId="{1A632C89-93B4-B7E8-5670-BEB21FC68F2C}"/>
          </ac:spMkLst>
        </pc:spChg>
        <pc:spChg chg="mod ord">
          <ac:chgData name="Fourati, Omar" userId="543b926d-baf3-4e4d-861e-19746c37446c" providerId="ADAL" clId="{354A9320-50F2-4432-95CC-BF175A4B08C6}" dt="2023-12-04T19:00:43.875" v="1166"/>
          <ac:spMkLst>
            <pc:docMk/>
            <pc:sldMk cId="1217021714" sldId="348"/>
            <ac:spMk id="9" creationId="{0ED64B88-5358-0B9B-4F5B-31B27ED086B9}"/>
          </ac:spMkLst>
        </pc:spChg>
        <pc:spChg chg="add mod">
          <ac:chgData name="Fourati, Omar" userId="543b926d-baf3-4e4d-861e-19746c37446c" providerId="ADAL" clId="{354A9320-50F2-4432-95CC-BF175A4B08C6}" dt="2023-12-04T19:02:33.548" v="1195" actId="1076"/>
          <ac:spMkLst>
            <pc:docMk/>
            <pc:sldMk cId="1217021714" sldId="348"/>
            <ac:spMk id="10" creationId="{21DCD3CD-96A5-EB8B-A28A-2A6A4385AB39}"/>
          </ac:spMkLst>
        </pc:spChg>
        <pc:spChg chg="add del mod">
          <ac:chgData name="Fourati, Omar" userId="543b926d-baf3-4e4d-861e-19746c37446c" providerId="ADAL" clId="{354A9320-50F2-4432-95CC-BF175A4B08C6}" dt="2023-12-04T19:01:11.332" v="1170" actId="478"/>
          <ac:spMkLst>
            <pc:docMk/>
            <pc:sldMk cId="1217021714" sldId="348"/>
            <ac:spMk id="12" creationId="{1D482621-EAEE-A67D-FC6D-A6DD0AF639ED}"/>
          </ac:spMkLst>
        </pc:spChg>
        <pc:spChg chg="add del mod">
          <ac:chgData name="Fourati, Omar" userId="543b926d-baf3-4e4d-861e-19746c37446c" providerId="ADAL" clId="{354A9320-50F2-4432-95CC-BF175A4B08C6}" dt="2023-12-04T19:01:14.931" v="1171" actId="478"/>
          <ac:spMkLst>
            <pc:docMk/>
            <pc:sldMk cId="1217021714" sldId="348"/>
            <ac:spMk id="15" creationId="{E1CC1427-19BF-6325-AAC8-F9D3390B7BB9}"/>
          </ac:spMkLst>
        </pc:spChg>
        <pc:spChg chg="add del">
          <ac:chgData name="Fourati, Omar" userId="543b926d-baf3-4e4d-861e-19746c37446c" providerId="ADAL" clId="{354A9320-50F2-4432-95CC-BF175A4B08C6}" dt="2023-12-04T18:54:37.222" v="941" actId="26606"/>
          <ac:spMkLst>
            <pc:docMk/>
            <pc:sldMk cId="1217021714" sldId="348"/>
            <ac:spMk id="17" creationId="{257363FD-7E77-4145-9483-331A807ADF0E}"/>
          </ac:spMkLst>
        </pc:spChg>
        <pc:spChg chg="add mod">
          <ac:chgData name="Fourati, Omar" userId="543b926d-baf3-4e4d-861e-19746c37446c" providerId="ADAL" clId="{354A9320-50F2-4432-95CC-BF175A4B08C6}" dt="2023-12-04T19:01:19.367" v="1188" actId="20577"/>
          <ac:spMkLst>
            <pc:docMk/>
            <pc:sldMk cId="1217021714" sldId="348"/>
            <ac:spMk id="18" creationId="{6F49445C-907F-F8FF-A389-DEDC16BC4D7F}"/>
          </ac:spMkLst>
        </pc:spChg>
        <pc:spChg chg="add mod">
          <ac:chgData name="Fourati, Omar" userId="543b926d-baf3-4e4d-861e-19746c37446c" providerId="ADAL" clId="{354A9320-50F2-4432-95CC-BF175A4B08C6}" dt="2023-12-04T19:35:01.162" v="1515" actId="20577"/>
          <ac:spMkLst>
            <pc:docMk/>
            <pc:sldMk cId="1217021714" sldId="348"/>
            <ac:spMk id="23" creationId="{4BC5BF79-3455-C794-EEFB-1E5C69703B08}"/>
          </ac:spMkLst>
        </pc:spChg>
        <pc:graphicFrameChg chg="add mod modGraphic">
          <ac:chgData name="Fourati, Omar" userId="543b926d-baf3-4e4d-861e-19746c37446c" providerId="ADAL" clId="{354A9320-50F2-4432-95CC-BF175A4B08C6}" dt="2023-12-04T20:01:19.660" v="1557" actId="20577"/>
          <ac:graphicFrameMkLst>
            <pc:docMk/>
            <pc:sldMk cId="1217021714" sldId="348"/>
            <ac:graphicFrameMk id="11" creationId="{C197C0EC-8F93-4ECE-2168-27EAF8E188FD}"/>
          </ac:graphicFrameMkLst>
        </pc:graphicFrameChg>
        <pc:picChg chg="add del">
          <ac:chgData name="Fourati, Omar" userId="543b926d-baf3-4e4d-861e-19746c37446c" providerId="ADAL" clId="{354A9320-50F2-4432-95CC-BF175A4B08C6}" dt="2023-12-04T18:54:37.222" v="941" actId="26606"/>
          <ac:picMkLst>
            <pc:docMk/>
            <pc:sldMk cId="1217021714" sldId="348"/>
            <ac:picMk id="13" creationId="{FF5132A9-4423-1579-7E6A-42E178F7A20A}"/>
          </ac:picMkLst>
        </pc:picChg>
        <pc:picChg chg="add del">
          <ac:chgData name="Fourati, Omar" userId="543b926d-baf3-4e4d-861e-19746c37446c" providerId="ADAL" clId="{354A9320-50F2-4432-95CC-BF175A4B08C6}" dt="2023-12-04T18:54:47.538" v="943" actId="478"/>
          <ac:picMkLst>
            <pc:docMk/>
            <pc:sldMk cId="1217021714" sldId="348"/>
            <ac:picMk id="14" creationId="{FE2DC7BF-3D9C-FBE8-5BC4-DDFEDD4A9BFD}"/>
          </ac:picMkLst>
        </pc:picChg>
        <pc:picChg chg="add mod">
          <ac:chgData name="Fourati, Omar" userId="543b926d-baf3-4e4d-861e-19746c37446c" providerId="ADAL" clId="{354A9320-50F2-4432-95CC-BF175A4B08C6}" dt="2023-12-04T19:07:20.715" v="1461" actId="1076"/>
          <ac:picMkLst>
            <pc:docMk/>
            <pc:sldMk cId="1217021714" sldId="348"/>
            <ac:picMk id="20" creationId="{4CA501E4-7AD3-9AD5-2135-A68A64BEB149}"/>
          </ac:picMkLst>
        </pc:picChg>
        <pc:picChg chg="add del mod">
          <ac:chgData name="Fourati, Omar" userId="543b926d-baf3-4e4d-861e-19746c37446c" providerId="ADAL" clId="{354A9320-50F2-4432-95CC-BF175A4B08C6}" dt="2023-12-04T19:02:39.601" v="1198" actId="478"/>
          <ac:picMkLst>
            <pc:docMk/>
            <pc:sldMk cId="1217021714" sldId="348"/>
            <ac:picMk id="22" creationId="{45D7F056-8845-76A4-47D4-7422C01FCC7A}"/>
          </ac:picMkLst>
        </pc:picChg>
      </pc:sldChg>
      <pc:sldChg chg="modSp mod">
        <pc:chgData name="Fourati, Omar" userId="543b926d-baf3-4e4d-861e-19746c37446c" providerId="ADAL" clId="{354A9320-50F2-4432-95CC-BF175A4B08C6}" dt="2023-12-04T17:20:52.952" v="188" actId="20577"/>
        <pc:sldMkLst>
          <pc:docMk/>
          <pc:sldMk cId="4161753607" sldId="349"/>
        </pc:sldMkLst>
        <pc:spChg chg="mod">
          <ac:chgData name="Fourati, Omar" userId="543b926d-baf3-4e4d-861e-19746c37446c" providerId="ADAL" clId="{354A9320-50F2-4432-95CC-BF175A4B08C6}" dt="2023-12-04T17:20:52.952" v="188" actId="20577"/>
          <ac:spMkLst>
            <pc:docMk/>
            <pc:sldMk cId="4161753607" sldId="349"/>
            <ac:spMk id="5" creationId="{5B39950F-D47F-6B3D-8E9B-AF5C396D9A03}"/>
          </ac:spMkLst>
        </pc:spChg>
      </pc:sldChg>
      <pc:sldChg chg="addSp delSp modSp new del mod">
        <pc:chgData name="Fourati, Omar" userId="543b926d-baf3-4e4d-861e-19746c37446c" providerId="ADAL" clId="{354A9320-50F2-4432-95CC-BF175A4B08C6}" dt="2023-12-05T15:37:16.626" v="2044" actId="47"/>
        <pc:sldMkLst>
          <pc:docMk/>
          <pc:sldMk cId="739884265" sldId="350"/>
        </pc:sldMkLst>
        <pc:spChg chg="mod">
          <ac:chgData name="Fourati, Omar" userId="543b926d-baf3-4e4d-861e-19746c37446c" providerId="ADAL" clId="{354A9320-50F2-4432-95CC-BF175A4B08C6}" dt="2023-12-05T12:53:20.245" v="1850" actId="20577"/>
          <ac:spMkLst>
            <pc:docMk/>
            <pc:sldMk cId="739884265" sldId="350"/>
            <ac:spMk id="5" creationId="{67C8AA80-B4AF-3233-25C0-7CE6768D2A97}"/>
          </ac:spMkLst>
        </pc:spChg>
        <pc:spChg chg="mod">
          <ac:chgData name="Fourati, Omar" userId="543b926d-baf3-4e4d-861e-19746c37446c" providerId="ADAL" clId="{354A9320-50F2-4432-95CC-BF175A4B08C6}" dt="2023-12-05T12:52:44.898" v="1842" actId="20577"/>
          <ac:spMkLst>
            <pc:docMk/>
            <pc:sldMk cId="739884265" sldId="350"/>
            <ac:spMk id="6" creationId="{AFB64F26-0A05-E353-4BB6-36FA0D9C8B9A}"/>
          </ac:spMkLst>
        </pc:spChg>
        <pc:spChg chg="del">
          <ac:chgData name="Fourati, Omar" userId="543b926d-baf3-4e4d-861e-19746c37446c" providerId="ADAL" clId="{354A9320-50F2-4432-95CC-BF175A4B08C6}" dt="2023-12-04T20:16:12.093" v="1562"/>
          <ac:spMkLst>
            <pc:docMk/>
            <pc:sldMk cId="739884265" sldId="350"/>
            <ac:spMk id="7" creationId="{D8DC2521-90D9-8425-7165-EE6FE6B5B1DC}"/>
          </ac:spMkLst>
        </pc:spChg>
        <pc:spChg chg="mod">
          <ac:chgData name="Fourati, Omar" userId="543b926d-baf3-4e4d-861e-19746c37446c" providerId="ADAL" clId="{354A9320-50F2-4432-95CC-BF175A4B08C6}" dt="2023-12-04T18:47:12.960" v="937" actId="20577"/>
          <ac:spMkLst>
            <pc:docMk/>
            <pc:sldMk cId="739884265" sldId="350"/>
            <ac:spMk id="9" creationId="{EC14E4B4-D6E6-7FFB-367A-45C2B8399828}"/>
          </ac:spMkLst>
        </pc:spChg>
        <pc:spChg chg="add del mod">
          <ac:chgData name="Fourati, Omar" userId="543b926d-baf3-4e4d-861e-19746c37446c" providerId="ADAL" clId="{354A9320-50F2-4432-95CC-BF175A4B08C6}" dt="2023-12-04T20:22:05.876" v="1589" actId="478"/>
          <ac:spMkLst>
            <pc:docMk/>
            <pc:sldMk cId="739884265" sldId="350"/>
            <ac:spMk id="14" creationId="{FDB2F0CD-31D6-B6C1-53E5-BCED52C262C7}"/>
          </ac:spMkLst>
        </pc:spChg>
        <pc:spChg chg="add del mod">
          <ac:chgData name="Fourati, Omar" userId="543b926d-baf3-4e4d-861e-19746c37446c" providerId="ADAL" clId="{354A9320-50F2-4432-95CC-BF175A4B08C6}" dt="2023-12-04T20:25:09.316" v="1630" actId="478"/>
          <ac:spMkLst>
            <pc:docMk/>
            <pc:sldMk cId="739884265" sldId="350"/>
            <ac:spMk id="17" creationId="{FCE37543-24B5-A474-2E2A-20C86DC64861}"/>
          </ac:spMkLst>
        </pc:spChg>
        <pc:spChg chg="add del mod">
          <ac:chgData name="Fourati, Omar" userId="543b926d-baf3-4e4d-861e-19746c37446c" providerId="ADAL" clId="{354A9320-50F2-4432-95CC-BF175A4B08C6}" dt="2023-12-05T12:53:07.713" v="1843" actId="478"/>
          <ac:spMkLst>
            <pc:docMk/>
            <pc:sldMk cId="739884265" sldId="350"/>
            <ac:spMk id="24" creationId="{E51E0952-BBB3-8CBE-2D85-E577047E1583}"/>
          </ac:spMkLst>
        </pc:spChg>
        <pc:spChg chg="add del mod">
          <ac:chgData name="Fourati, Omar" userId="543b926d-baf3-4e4d-861e-19746c37446c" providerId="ADAL" clId="{354A9320-50F2-4432-95CC-BF175A4B08C6}" dt="2023-12-05T12:53:07.713" v="1843" actId="478"/>
          <ac:spMkLst>
            <pc:docMk/>
            <pc:sldMk cId="739884265" sldId="350"/>
            <ac:spMk id="25" creationId="{1C19FA66-3540-DDDB-89A5-937228C00BE4}"/>
          </ac:spMkLst>
        </pc:spChg>
        <pc:spChg chg="add del mod">
          <ac:chgData name="Fourati, Omar" userId="543b926d-baf3-4e4d-861e-19746c37446c" providerId="ADAL" clId="{354A9320-50F2-4432-95CC-BF175A4B08C6}" dt="2023-12-04T20:28:25.700" v="1785"/>
          <ac:spMkLst>
            <pc:docMk/>
            <pc:sldMk cId="739884265" sldId="350"/>
            <ac:spMk id="26" creationId="{D36EC2DF-C605-F3A6-A7AD-F4ABC548CEC8}"/>
          </ac:spMkLst>
        </pc:spChg>
        <pc:spChg chg="add del mod">
          <ac:chgData name="Fourati, Omar" userId="543b926d-baf3-4e4d-861e-19746c37446c" providerId="ADAL" clId="{354A9320-50F2-4432-95CC-BF175A4B08C6}" dt="2023-12-05T12:53:07.713" v="1843" actId="478"/>
          <ac:spMkLst>
            <pc:docMk/>
            <pc:sldMk cId="739884265" sldId="350"/>
            <ac:spMk id="27" creationId="{FA1CF1BD-4070-11B6-79C1-0BBA892ED056}"/>
          </ac:spMkLst>
        </pc:spChg>
        <pc:picChg chg="add mod">
          <ac:chgData name="Fourati, Omar" userId="543b926d-baf3-4e4d-861e-19746c37446c" providerId="ADAL" clId="{354A9320-50F2-4432-95CC-BF175A4B08C6}" dt="2023-12-05T12:53:15.722" v="1846" actId="1076"/>
          <ac:picMkLst>
            <pc:docMk/>
            <pc:sldMk cId="739884265" sldId="350"/>
            <ac:picMk id="10" creationId="{43C06021-1524-7D75-D1A1-01EE7153BC9B}"/>
          </ac:picMkLst>
        </pc:picChg>
        <pc:picChg chg="add del mod">
          <ac:chgData name="Fourati, Omar" userId="543b926d-baf3-4e4d-861e-19746c37446c" providerId="ADAL" clId="{354A9320-50F2-4432-95CC-BF175A4B08C6}" dt="2023-12-04T20:21:14.237" v="1584" actId="478"/>
          <ac:picMkLst>
            <pc:docMk/>
            <pc:sldMk cId="739884265" sldId="350"/>
            <ac:picMk id="11" creationId="{0EA08874-EBAE-0192-D300-A87E50307C8E}"/>
          </ac:picMkLst>
        </pc:picChg>
        <pc:picChg chg="add del mod">
          <ac:chgData name="Fourati, Omar" userId="543b926d-baf3-4e4d-861e-19746c37446c" providerId="ADAL" clId="{354A9320-50F2-4432-95CC-BF175A4B08C6}" dt="2023-12-04T20:22:17.643" v="1592" actId="478"/>
          <ac:picMkLst>
            <pc:docMk/>
            <pc:sldMk cId="739884265" sldId="350"/>
            <ac:picMk id="13" creationId="{C9D643E3-DCE9-CC9A-7B1A-44B0F43B3BD3}"/>
          </ac:picMkLst>
        </pc:picChg>
        <pc:picChg chg="add del mod">
          <ac:chgData name="Fourati, Omar" userId="543b926d-baf3-4e4d-861e-19746c37446c" providerId="ADAL" clId="{354A9320-50F2-4432-95CC-BF175A4B08C6}" dt="2023-12-04T20:23:38.642" v="1601" actId="478"/>
          <ac:picMkLst>
            <pc:docMk/>
            <pc:sldMk cId="739884265" sldId="350"/>
            <ac:picMk id="16" creationId="{09238210-F854-8019-40FC-27947AA7AB4C}"/>
          </ac:picMkLst>
        </pc:picChg>
        <pc:picChg chg="add del mod">
          <ac:chgData name="Fourati, Omar" userId="543b926d-baf3-4e4d-861e-19746c37446c" providerId="ADAL" clId="{354A9320-50F2-4432-95CC-BF175A4B08C6}" dt="2023-12-05T12:53:07.713" v="1843" actId="478"/>
          <ac:picMkLst>
            <pc:docMk/>
            <pc:sldMk cId="739884265" sldId="350"/>
            <ac:picMk id="19" creationId="{E06A64A0-41CB-8E7C-E157-B1FC8B324D7C}"/>
          </ac:picMkLst>
        </pc:picChg>
        <pc:picChg chg="add del mod">
          <ac:chgData name="Fourati, Omar" userId="543b926d-baf3-4e4d-861e-19746c37446c" providerId="ADAL" clId="{354A9320-50F2-4432-95CC-BF175A4B08C6}" dt="2023-12-05T12:53:07.713" v="1843" actId="478"/>
          <ac:picMkLst>
            <pc:docMk/>
            <pc:sldMk cId="739884265" sldId="350"/>
            <ac:picMk id="21" creationId="{EFD60A0F-B749-4A90-F71D-EEC7D0966FC6}"/>
          </ac:picMkLst>
        </pc:picChg>
        <pc:picChg chg="add del mod">
          <ac:chgData name="Fourati, Omar" userId="543b926d-baf3-4e4d-861e-19746c37446c" providerId="ADAL" clId="{354A9320-50F2-4432-95CC-BF175A4B08C6}" dt="2023-12-05T12:53:07.713" v="1843" actId="478"/>
          <ac:picMkLst>
            <pc:docMk/>
            <pc:sldMk cId="739884265" sldId="350"/>
            <ac:picMk id="23" creationId="{0618CE92-9BCD-27A1-A403-0387A0E08ADB}"/>
          </ac:picMkLst>
        </pc:picChg>
        <pc:picChg chg="add del mod">
          <ac:chgData name="Fourati, Omar" userId="543b926d-baf3-4e4d-861e-19746c37446c" providerId="ADAL" clId="{354A9320-50F2-4432-95CC-BF175A4B08C6}" dt="2023-12-04T20:22:03.961" v="1588" actId="478"/>
          <ac:picMkLst>
            <pc:docMk/>
            <pc:sldMk cId="739884265" sldId="350"/>
            <ac:picMk id="1026" creationId="{9701EADC-555F-7E15-DA4E-2189895927B2}"/>
          </ac:picMkLst>
        </pc:picChg>
      </pc:sldChg>
      <pc:sldChg chg="addSp delSp modSp add mod ord modAnim">
        <pc:chgData name="Fourati, Omar" userId="543b926d-baf3-4e4d-861e-19746c37446c" providerId="ADAL" clId="{354A9320-50F2-4432-95CC-BF175A4B08C6}" dt="2023-12-05T16:07:09.743" v="2184" actId="1076"/>
        <pc:sldMkLst>
          <pc:docMk/>
          <pc:sldMk cId="2641090262" sldId="351"/>
        </pc:sldMkLst>
        <pc:spChg chg="mod">
          <ac:chgData name="Fourati, Omar" userId="543b926d-baf3-4e4d-861e-19746c37446c" providerId="ADAL" clId="{354A9320-50F2-4432-95CC-BF175A4B08C6}" dt="2023-12-05T13:20:00.905" v="1940" actId="20577"/>
          <ac:spMkLst>
            <pc:docMk/>
            <pc:sldMk cId="2641090262" sldId="351"/>
            <ac:spMk id="5" creationId="{67C8AA80-B4AF-3233-25C0-7CE6768D2A97}"/>
          </ac:spMkLst>
        </pc:spChg>
        <pc:spChg chg="mod">
          <ac:chgData name="Fourati, Omar" userId="543b926d-baf3-4e4d-861e-19746c37446c" providerId="ADAL" clId="{354A9320-50F2-4432-95CC-BF175A4B08C6}" dt="2023-12-05T12:52:42.153" v="1841" actId="20577"/>
          <ac:spMkLst>
            <pc:docMk/>
            <pc:sldMk cId="2641090262" sldId="351"/>
            <ac:spMk id="6" creationId="{AFB64F26-0A05-E353-4BB6-36FA0D9C8B9A}"/>
          </ac:spMkLst>
        </pc:spChg>
        <pc:spChg chg="add mod">
          <ac:chgData name="Fourati, Omar" userId="543b926d-baf3-4e4d-861e-19746c37446c" providerId="ADAL" clId="{354A9320-50F2-4432-95CC-BF175A4B08C6}" dt="2023-12-05T15:35:57.254" v="2025" actId="20577"/>
          <ac:spMkLst>
            <pc:docMk/>
            <pc:sldMk cId="2641090262" sldId="351"/>
            <ac:spMk id="13" creationId="{992DB120-8EA9-FC00-3C99-DB429F52C9C3}"/>
          </ac:spMkLst>
        </pc:spChg>
        <pc:spChg chg="add mod">
          <ac:chgData name="Fourati, Omar" userId="543b926d-baf3-4e4d-861e-19746c37446c" providerId="ADAL" clId="{354A9320-50F2-4432-95CC-BF175A4B08C6}" dt="2023-12-05T16:07:09.743" v="2184" actId="1076"/>
          <ac:spMkLst>
            <pc:docMk/>
            <pc:sldMk cId="2641090262" sldId="351"/>
            <ac:spMk id="16" creationId="{259FECC4-C9D0-8654-2819-AC6509735EC2}"/>
          </ac:spMkLst>
        </pc:spChg>
        <pc:spChg chg="mod">
          <ac:chgData name="Fourati, Omar" userId="543b926d-baf3-4e4d-861e-19746c37446c" providerId="ADAL" clId="{354A9320-50F2-4432-95CC-BF175A4B08C6}" dt="2023-12-05T15:36:38.423" v="2037" actId="404"/>
          <ac:spMkLst>
            <pc:docMk/>
            <pc:sldMk cId="2641090262" sldId="351"/>
            <ac:spMk id="24" creationId="{E51E0952-BBB3-8CBE-2D85-E577047E1583}"/>
          </ac:spMkLst>
        </pc:spChg>
        <pc:spChg chg="mod">
          <ac:chgData name="Fourati, Omar" userId="543b926d-baf3-4e4d-861e-19746c37446c" providerId="ADAL" clId="{354A9320-50F2-4432-95CC-BF175A4B08C6}" dt="2023-12-05T15:36:40.938" v="2038" actId="404"/>
          <ac:spMkLst>
            <pc:docMk/>
            <pc:sldMk cId="2641090262" sldId="351"/>
            <ac:spMk id="25" creationId="{1C19FA66-3540-DDDB-89A5-937228C00BE4}"/>
          </ac:spMkLst>
        </pc:spChg>
        <pc:spChg chg="mod">
          <ac:chgData name="Fourati, Omar" userId="543b926d-baf3-4e4d-861e-19746c37446c" providerId="ADAL" clId="{354A9320-50F2-4432-95CC-BF175A4B08C6}" dt="2023-12-05T15:36:42.917" v="2039" actId="404"/>
          <ac:spMkLst>
            <pc:docMk/>
            <pc:sldMk cId="2641090262" sldId="351"/>
            <ac:spMk id="27" creationId="{FA1CF1BD-4070-11B6-79C1-0BBA892ED056}"/>
          </ac:spMkLst>
        </pc:spChg>
        <pc:picChg chg="add del mod">
          <ac:chgData name="Fourati, Omar" userId="543b926d-baf3-4e4d-861e-19746c37446c" providerId="ADAL" clId="{354A9320-50F2-4432-95CC-BF175A4B08C6}" dt="2023-12-05T15:35:33.067" v="2013" actId="478"/>
          <ac:picMkLst>
            <pc:docMk/>
            <pc:sldMk cId="2641090262" sldId="351"/>
            <ac:picMk id="7" creationId="{4F574A00-F532-DC0A-B842-5FFB8ED72BC1}"/>
          </ac:picMkLst>
        </pc:picChg>
        <pc:picChg chg="add mod">
          <ac:chgData name="Fourati, Omar" userId="543b926d-baf3-4e4d-861e-19746c37446c" providerId="ADAL" clId="{354A9320-50F2-4432-95CC-BF175A4B08C6}" dt="2023-12-05T15:36:52.670" v="2042" actId="1076"/>
          <ac:picMkLst>
            <pc:docMk/>
            <pc:sldMk cId="2641090262" sldId="351"/>
            <ac:picMk id="10" creationId="{F1614463-225A-FCD5-7252-1F0E0FEB0D92}"/>
          </ac:picMkLst>
        </pc:picChg>
        <pc:picChg chg="add del mod">
          <ac:chgData name="Fourati, Omar" userId="543b926d-baf3-4e4d-861e-19746c37446c" providerId="ADAL" clId="{354A9320-50F2-4432-95CC-BF175A4B08C6}" dt="2023-12-05T15:35:33.067" v="2013" actId="478"/>
          <ac:picMkLst>
            <pc:docMk/>
            <pc:sldMk cId="2641090262" sldId="351"/>
            <ac:picMk id="11" creationId="{7D770F9E-B3EB-D926-5D25-273CE9139468}"/>
          </ac:picMkLst>
        </pc:picChg>
        <pc:picChg chg="add del mod">
          <ac:chgData name="Fourati, Omar" userId="543b926d-baf3-4e4d-861e-19746c37446c" providerId="ADAL" clId="{354A9320-50F2-4432-95CC-BF175A4B08C6}" dt="2023-12-05T15:35:33.067" v="2013" actId="478"/>
          <ac:picMkLst>
            <pc:docMk/>
            <pc:sldMk cId="2641090262" sldId="351"/>
            <ac:picMk id="12" creationId="{18628399-808F-8734-535C-F12C29273CDE}"/>
          </ac:picMkLst>
        </pc:picChg>
        <pc:picChg chg="add mod">
          <ac:chgData name="Fourati, Omar" userId="543b926d-baf3-4e4d-861e-19746c37446c" providerId="ADAL" clId="{354A9320-50F2-4432-95CC-BF175A4B08C6}" dt="2023-12-05T15:36:46.325" v="2040" actId="1076"/>
          <ac:picMkLst>
            <pc:docMk/>
            <pc:sldMk cId="2641090262" sldId="351"/>
            <ac:picMk id="14" creationId="{75C552BB-290A-95F6-2BB5-659368A3F548}"/>
          </ac:picMkLst>
        </pc:picChg>
        <pc:picChg chg="mod">
          <ac:chgData name="Fourati, Omar" userId="543b926d-baf3-4e4d-861e-19746c37446c" providerId="ADAL" clId="{354A9320-50F2-4432-95CC-BF175A4B08C6}" dt="2023-12-05T15:36:51.152" v="2041" actId="1076"/>
          <ac:picMkLst>
            <pc:docMk/>
            <pc:sldMk cId="2641090262" sldId="351"/>
            <ac:picMk id="19" creationId="{E06A64A0-41CB-8E7C-E157-B1FC8B324D7C}"/>
          </ac:picMkLst>
        </pc:picChg>
        <pc:picChg chg="del mod">
          <ac:chgData name="Fourati, Omar" userId="543b926d-baf3-4e4d-861e-19746c37446c" providerId="ADAL" clId="{354A9320-50F2-4432-95CC-BF175A4B08C6}" dt="2023-12-05T15:35:40.109" v="2016" actId="478"/>
          <ac:picMkLst>
            <pc:docMk/>
            <pc:sldMk cId="2641090262" sldId="351"/>
            <ac:picMk id="21" creationId="{EFD60A0F-B749-4A90-F71D-EEC7D0966FC6}"/>
          </ac:picMkLst>
        </pc:picChg>
        <pc:picChg chg="mod">
          <ac:chgData name="Fourati, Omar" userId="543b926d-baf3-4e4d-861e-19746c37446c" providerId="ADAL" clId="{354A9320-50F2-4432-95CC-BF175A4B08C6}" dt="2023-12-05T15:36:55.752" v="2043" actId="1076"/>
          <ac:picMkLst>
            <pc:docMk/>
            <pc:sldMk cId="2641090262" sldId="351"/>
            <ac:picMk id="23" creationId="{0618CE92-9BCD-27A1-A403-0387A0E08ADB}"/>
          </ac:picMkLst>
        </pc:picChg>
      </pc:sldChg>
      <pc:sldChg chg="del">
        <pc:chgData name="Fourati, Omar" userId="543b926d-baf3-4e4d-861e-19746c37446c" providerId="ADAL" clId="{354A9320-50F2-4432-95CC-BF175A4B08C6}" dt="2023-12-05T12:52:30.821" v="1836" actId="47"/>
        <pc:sldMkLst>
          <pc:docMk/>
          <pc:sldMk cId="3115778502" sldId="351"/>
        </pc:sldMkLst>
      </pc:sldChg>
      <pc:sldChg chg="addSp delSp modSp new mod">
        <pc:chgData name="Fourati, Omar" userId="543b926d-baf3-4e4d-861e-19746c37446c" providerId="ADAL" clId="{354A9320-50F2-4432-95CC-BF175A4B08C6}" dt="2023-12-05T15:57:41.991" v="2147" actId="478"/>
        <pc:sldMkLst>
          <pc:docMk/>
          <pc:sldMk cId="2045824023" sldId="352"/>
        </pc:sldMkLst>
        <pc:spChg chg="del">
          <ac:chgData name="Fourati, Omar" userId="543b926d-baf3-4e4d-861e-19746c37446c" providerId="ADAL" clId="{354A9320-50F2-4432-95CC-BF175A4B08C6}" dt="2023-12-05T13:08:25.562" v="1880" actId="478"/>
          <ac:spMkLst>
            <pc:docMk/>
            <pc:sldMk cId="2045824023" sldId="352"/>
            <ac:spMk id="5" creationId="{1E0F7655-0F35-AE73-1AB9-E987A98E8E95}"/>
          </ac:spMkLst>
        </pc:spChg>
        <pc:spChg chg="mod">
          <ac:chgData name="Fourati, Omar" userId="543b926d-baf3-4e4d-861e-19746c37446c" providerId="ADAL" clId="{354A9320-50F2-4432-95CC-BF175A4B08C6}" dt="2023-12-05T13:09:07.571" v="1918" actId="20577"/>
          <ac:spMkLst>
            <pc:docMk/>
            <pc:sldMk cId="2045824023" sldId="352"/>
            <ac:spMk id="6" creationId="{63928CBE-FF39-F56B-F420-62CF8E0F1494}"/>
          </ac:spMkLst>
        </pc:spChg>
        <pc:spChg chg="add del">
          <ac:chgData name="Fourati, Omar" userId="543b926d-baf3-4e4d-861e-19746c37446c" providerId="ADAL" clId="{354A9320-50F2-4432-95CC-BF175A4B08C6}" dt="2023-12-05T13:08:03.904" v="1862"/>
          <ac:spMkLst>
            <pc:docMk/>
            <pc:sldMk cId="2045824023" sldId="352"/>
            <ac:spMk id="7" creationId="{0F122FE4-32B0-4E77-9BD5-68CD05EFBB11}"/>
          </ac:spMkLst>
        </pc:spChg>
        <pc:spChg chg="del">
          <ac:chgData name="Fourati, Omar" userId="543b926d-baf3-4e4d-861e-19746c37446c" providerId="ADAL" clId="{354A9320-50F2-4432-95CC-BF175A4B08C6}" dt="2023-12-05T13:08:05.233" v="1865"/>
          <ac:spMkLst>
            <pc:docMk/>
            <pc:sldMk cId="2045824023" sldId="352"/>
            <ac:spMk id="8" creationId="{C8C39043-CC9F-3C60-BFE0-C22288403682}"/>
          </ac:spMkLst>
        </pc:spChg>
        <pc:spChg chg="mod">
          <ac:chgData name="Fourati, Omar" userId="543b926d-baf3-4e4d-861e-19746c37446c" providerId="ADAL" clId="{354A9320-50F2-4432-95CC-BF175A4B08C6}" dt="2023-12-05T15:52:58.131" v="2057" actId="20577"/>
          <ac:spMkLst>
            <pc:docMk/>
            <pc:sldMk cId="2045824023" sldId="352"/>
            <ac:spMk id="9" creationId="{D82559D6-501C-97D9-ECFC-5458D99B65B6}"/>
          </ac:spMkLst>
        </pc:spChg>
        <pc:spChg chg="add del mod">
          <ac:chgData name="Fourati, Omar" userId="543b926d-baf3-4e4d-861e-19746c37446c" providerId="ADAL" clId="{354A9320-50F2-4432-95CC-BF175A4B08C6}" dt="2023-12-05T13:08:14.829" v="1875" actId="478"/>
          <ac:spMkLst>
            <pc:docMk/>
            <pc:sldMk cId="2045824023" sldId="352"/>
            <ac:spMk id="21" creationId="{6B68D4A3-8E07-4D79-3EF3-34498888C7EA}"/>
          </ac:spMkLst>
        </pc:spChg>
        <pc:spChg chg="add mod">
          <ac:chgData name="Fourati, Omar" userId="543b926d-baf3-4e4d-861e-19746c37446c" providerId="ADAL" clId="{354A9320-50F2-4432-95CC-BF175A4B08C6}" dt="2023-12-05T13:08:13.301" v="1874" actId="478"/>
          <ac:spMkLst>
            <pc:docMk/>
            <pc:sldMk cId="2045824023" sldId="352"/>
            <ac:spMk id="23" creationId="{7779239F-AFEC-A5E7-4819-F220E0858E11}"/>
          </ac:spMkLst>
        </pc:spChg>
        <pc:spChg chg="add del mod">
          <ac:chgData name="Fourati, Omar" userId="543b926d-baf3-4e4d-861e-19746c37446c" providerId="ADAL" clId="{354A9320-50F2-4432-95CC-BF175A4B08C6}" dt="2023-12-05T15:57:41.991" v="2147" actId="478"/>
          <ac:spMkLst>
            <pc:docMk/>
            <pc:sldMk cId="2045824023" sldId="352"/>
            <ac:spMk id="25" creationId="{F756C470-AC14-2AEC-ED52-B91FBFC8E604}"/>
          </ac:spMkLst>
        </pc:spChg>
        <pc:picChg chg="add del mod">
          <ac:chgData name="Fourati, Omar" userId="543b926d-baf3-4e4d-861e-19746c37446c" providerId="ADAL" clId="{354A9320-50F2-4432-95CC-BF175A4B08C6}" dt="2023-12-05T13:07:41.936" v="1854" actId="478"/>
          <ac:picMkLst>
            <pc:docMk/>
            <pc:sldMk cId="2045824023" sldId="352"/>
            <ac:picMk id="11" creationId="{854F8F88-9563-A4AF-3212-D793AA0EB7BA}"/>
          </ac:picMkLst>
        </pc:picChg>
        <pc:picChg chg="add del mod">
          <ac:chgData name="Fourati, Omar" userId="543b926d-baf3-4e4d-861e-19746c37446c" providerId="ADAL" clId="{354A9320-50F2-4432-95CC-BF175A4B08C6}" dt="2023-12-05T13:07:59.170" v="1861"/>
          <ac:picMkLst>
            <pc:docMk/>
            <pc:sldMk cId="2045824023" sldId="352"/>
            <ac:picMk id="13" creationId="{B2992592-EE4A-F6BB-3B6B-7D04ACA5DA66}"/>
          </ac:picMkLst>
        </pc:picChg>
        <pc:picChg chg="add del mod">
          <ac:chgData name="Fourati, Omar" userId="543b926d-baf3-4e4d-861e-19746c37446c" providerId="ADAL" clId="{354A9320-50F2-4432-95CC-BF175A4B08C6}" dt="2023-12-05T13:08:12.513" v="1873" actId="478"/>
          <ac:picMkLst>
            <pc:docMk/>
            <pc:sldMk cId="2045824023" sldId="352"/>
            <ac:picMk id="15" creationId="{9C375EE5-3FD3-8448-9C5E-E5AC2FB39FCC}"/>
          </ac:picMkLst>
        </pc:picChg>
        <pc:picChg chg="add del mod">
          <ac:chgData name="Fourati, Omar" userId="543b926d-baf3-4e4d-861e-19746c37446c" providerId="ADAL" clId="{354A9320-50F2-4432-95CC-BF175A4B08C6}" dt="2023-12-05T13:08:13.301" v="1874" actId="478"/>
          <ac:picMkLst>
            <pc:docMk/>
            <pc:sldMk cId="2045824023" sldId="352"/>
            <ac:picMk id="17" creationId="{5C38AB04-0F28-288D-20BC-79E46540DCE2}"/>
          </ac:picMkLst>
        </pc:picChg>
        <pc:picChg chg="add mod">
          <ac:chgData name="Fourati, Omar" userId="543b926d-baf3-4e4d-861e-19746c37446c" providerId="ADAL" clId="{354A9320-50F2-4432-95CC-BF175A4B08C6}" dt="2023-12-05T13:19:44.974" v="1935" actId="1076"/>
          <ac:picMkLst>
            <pc:docMk/>
            <pc:sldMk cId="2045824023" sldId="352"/>
            <ac:picMk id="19" creationId="{9CCCED66-E257-1A0E-F6B7-E4A8991DE853}"/>
          </ac:picMkLst>
        </pc:picChg>
      </pc:sldChg>
      <pc:sldChg chg="addSp delSp modSp add mod ord modAnim">
        <pc:chgData name="Fourati, Omar" userId="543b926d-baf3-4e4d-861e-19746c37446c" providerId="ADAL" clId="{354A9320-50F2-4432-95CC-BF175A4B08C6}" dt="2023-12-05T16:04:29.688" v="2167" actId="1076"/>
        <pc:sldMkLst>
          <pc:docMk/>
          <pc:sldMk cId="4186756014" sldId="353"/>
        </pc:sldMkLst>
        <pc:spChg chg="del">
          <ac:chgData name="Fourati, Omar" userId="543b926d-baf3-4e4d-861e-19746c37446c" providerId="ADAL" clId="{354A9320-50F2-4432-95CC-BF175A4B08C6}" dt="2023-12-05T14:08:33.726" v="1956" actId="478"/>
          <ac:spMkLst>
            <pc:docMk/>
            <pc:sldMk cId="4186756014" sldId="353"/>
            <ac:spMk id="5" creationId="{67C8AA80-B4AF-3233-25C0-7CE6768D2A97}"/>
          </ac:spMkLst>
        </pc:spChg>
        <pc:spChg chg="mod">
          <ac:chgData name="Fourati, Omar" userId="543b926d-baf3-4e4d-861e-19746c37446c" providerId="ADAL" clId="{354A9320-50F2-4432-95CC-BF175A4B08C6}" dt="2023-12-05T14:12:11.884" v="2008" actId="20577"/>
          <ac:spMkLst>
            <pc:docMk/>
            <pc:sldMk cId="4186756014" sldId="353"/>
            <ac:spMk id="6" creationId="{AFB64F26-0A05-E353-4BB6-36FA0D9C8B9A}"/>
          </ac:spMkLst>
        </pc:spChg>
        <pc:spChg chg="add del mod">
          <ac:chgData name="Fourati, Omar" userId="543b926d-baf3-4e4d-861e-19746c37446c" providerId="ADAL" clId="{354A9320-50F2-4432-95CC-BF175A4B08C6}" dt="2023-12-05T14:09:10.061" v="1963" actId="478"/>
          <ac:spMkLst>
            <pc:docMk/>
            <pc:sldMk cId="4186756014" sldId="353"/>
            <ac:spMk id="12" creationId="{5526ABC3-DBE5-5AA8-A84A-347C96C84E21}"/>
          </ac:spMkLst>
        </pc:spChg>
        <pc:spChg chg="del">
          <ac:chgData name="Fourati, Omar" userId="543b926d-baf3-4e4d-861e-19746c37446c" providerId="ADAL" clId="{354A9320-50F2-4432-95CC-BF175A4B08C6}" dt="2023-12-05T14:08:33.726" v="1956" actId="478"/>
          <ac:spMkLst>
            <pc:docMk/>
            <pc:sldMk cId="4186756014" sldId="353"/>
            <ac:spMk id="24" creationId="{E51E0952-BBB3-8CBE-2D85-E577047E1583}"/>
          </ac:spMkLst>
        </pc:spChg>
        <pc:spChg chg="del">
          <ac:chgData name="Fourati, Omar" userId="543b926d-baf3-4e4d-861e-19746c37446c" providerId="ADAL" clId="{354A9320-50F2-4432-95CC-BF175A4B08C6}" dt="2023-12-05T14:08:33.726" v="1956" actId="478"/>
          <ac:spMkLst>
            <pc:docMk/>
            <pc:sldMk cId="4186756014" sldId="353"/>
            <ac:spMk id="25" creationId="{1C19FA66-3540-DDDB-89A5-937228C00BE4}"/>
          </ac:spMkLst>
        </pc:spChg>
        <pc:spChg chg="del">
          <ac:chgData name="Fourati, Omar" userId="543b926d-baf3-4e4d-861e-19746c37446c" providerId="ADAL" clId="{354A9320-50F2-4432-95CC-BF175A4B08C6}" dt="2023-12-05T14:08:33.726" v="1956" actId="478"/>
          <ac:spMkLst>
            <pc:docMk/>
            <pc:sldMk cId="4186756014" sldId="353"/>
            <ac:spMk id="27" creationId="{FA1CF1BD-4070-11B6-79C1-0BBA892ED056}"/>
          </ac:spMkLst>
        </pc:spChg>
        <pc:spChg chg="add mod">
          <ac:chgData name="Fourati, Omar" userId="543b926d-baf3-4e4d-861e-19746c37446c" providerId="ADAL" clId="{354A9320-50F2-4432-95CC-BF175A4B08C6}" dt="2023-12-05T16:04:29.688" v="2167" actId="1076"/>
          <ac:spMkLst>
            <pc:docMk/>
            <pc:sldMk cId="4186756014" sldId="353"/>
            <ac:spMk id="49" creationId="{3312B634-7D90-40F0-F30E-BD2902EAFB16}"/>
          </ac:spMkLst>
        </pc:spChg>
        <pc:picChg chg="del">
          <ac:chgData name="Fourati, Omar" userId="543b926d-baf3-4e4d-861e-19746c37446c" providerId="ADAL" clId="{354A9320-50F2-4432-95CC-BF175A4B08C6}" dt="2023-12-05T14:08:33.726" v="1956" actId="478"/>
          <ac:picMkLst>
            <pc:docMk/>
            <pc:sldMk cId="4186756014" sldId="353"/>
            <ac:picMk id="7" creationId="{4F574A00-F532-DC0A-B842-5FFB8ED72BC1}"/>
          </ac:picMkLst>
        </pc:picChg>
        <pc:picChg chg="del">
          <ac:chgData name="Fourati, Omar" userId="543b926d-baf3-4e4d-861e-19746c37446c" providerId="ADAL" clId="{354A9320-50F2-4432-95CC-BF175A4B08C6}" dt="2023-12-05T14:08:33.726" v="1956" actId="478"/>
          <ac:picMkLst>
            <pc:docMk/>
            <pc:sldMk cId="4186756014" sldId="353"/>
            <ac:picMk id="10" creationId="{F1614463-225A-FCD5-7252-1F0E0FEB0D92}"/>
          </ac:picMkLst>
        </pc:picChg>
        <pc:picChg chg="add del mod">
          <ac:chgData name="Fourati, Omar" userId="543b926d-baf3-4e4d-861e-19746c37446c" providerId="ADAL" clId="{354A9320-50F2-4432-95CC-BF175A4B08C6}" dt="2023-12-05T14:08:49.316" v="1959" actId="478"/>
          <ac:picMkLst>
            <pc:docMk/>
            <pc:sldMk cId="4186756014" sldId="353"/>
            <ac:picMk id="14" creationId="{FB135454-0A16-4BC2-1813-344B0B9B4580}"/>
          </ac:picMkLst>
        </pc:picChg>
        <pc:picChg chg="add mod">
          <ac:chgData name="Fourati, Omar" userId="543b926d-baf3-4e4d-861e-19746c37446c" providerId="ADAL" clId="{354A9320-50F2-4432-95CC-BF175A4B08C6}" dt="2023-12-05T14:09:12.130" v="1964" actId="1076"/>
          <ac:picMkLst>
            <pc:docMk/>
            <pc:sldMk cId="4186756014" sldId="353"/>
            <ac:picMk id="16" creationId="{4A8276BC-220E-884E-4D87-58363D256C38}"/>
          </ac:picMkLst>
        </pc:picChg>
        <pc:picChg chg="add mod">
          <ac:chgData name="Fourati, Omar" userId="543b926d-baf3-4e4d-861e-19746c37446c" providerId="ADAL" clId="{354A9320-50F2-4432-95CC-BF175A4B08C6}" dt="2023-12-05T14:10:08.931" v="1975" actId="1076"/>
          <ac:picMkLst>
            <pc:docMk/>
            <pc:sldMk cId="4186756014" sldId="353"/>
            <ac:picMk id="18" creationId="{F72604B6-FFB6-DE48-B15B-B23859D77ECA}"/>
          </ac:picMkLst>
        </pc:picChg>
        <pc:picChg chg="del">
          <ac:chgData name="Fourati, Omar" userId="543b926d-baf3-4e4d-861e-19746c37446c" providerId="ADAL" clId="{354A9320-50F2-4432-95CC-BF175A4B08C6}" dt="2023-12-05T14:08:33.726" v="1956" actId="478"/>
          <ac:picMkLst>
            <pc:docMk/>
            <pc:sldMk cId="4186756014" sldId="353"/>
            <ac:picMk id="19" creationId="{E06A64A0-41CB-8E7C-E157-B1FC8B324D7C}"/>
          </ac:picMkLst>
        </pc:picChg>
        <pc:picChg chg="del">
          <ac:chgData name="Fourati, Omar" userId="543b926d-baf3-4e4d-861e-19746c37446c" providerId="ADAL" clId="{354A9320-50F2-4432-95CC-BF175A4B08C6}" dt="2023-12-05T14:08:33.726" v="1956" actId="478"/>
          <ac:picMkLst>
            <pc:docMk/>
            <pc:sldMk cId="4186756014" sldId="353"/>
            <ac:picMk id="21" creationId="{EFD60A0F-B749-4A90-F71D-EEC7D0966FC6}"/>
          </ac:picMkLst>
        </pc:picChg>
        <pc:picChg chg="add mod">
          <ac:chgData name="Fourati, Omar" userId="543b926d-baf3-4e4d-861e-19746c37446c" providerId="ADAL" clId="{354A9320-50F2-4432-95CC-BF175A4B08C6}" dt="2023-12-05T14:10:10.484" v="1976" actId="1076"/>
          <ac:picMkLst>
            <pc:docMk/>
            <pc:sldMk cId="4186756014" sldId="353"/>
            <ac:picMk id="22" creationId="{0F8CB9AB-5FB4-942F-AFC5-9B26D1C183F0}"/>
          </ac:picMkLst>
        </pc:picChg>
        <pc:picChg chg="del">
          <ac:chgData name="Fourati, Omar" userId="543b926d-baf3-4e4d-861e-19746c37446c" providerId="ADAL" clId="{354A9320-50F2-4432-95CC-BF175A4B08C6}" dt="2023-12-05T14:08:33.726" v="1956" actId="478"/>
          <ac:picMkLst>
            <pc:docMk/>
            <pc:sldMk cId="4186756014" sldId="353"/>
            <ac:picMk id="23" creationId="{0618CE92-9BCD-27A1-A403-0387A0E08ADB}"/>
          </ac:picMkLst>
        </pc:picChg>
        <pc:picChg chg="add mod">
          <ac:chgData name="Fourati, Omar" userId="543b926d-baf3-4e4d-861e-19746c37446c" providerId="ADAL" clId="{354A9320-50F2-4432-95CC-BF175A4B08C6}" dt="2023-12-05T14:10:13.364" v="1977" actId="1076"/>
          <ac:picMkLst>
            <pc:docMk/>
            <pc:sldMk cId="4186756014" sldId="353"/>
            <ac:picMk id="28" creationId="{2D215270-3DC1-8D42-E488-95A54E77E304}"/>
          </ac:picMkLst>
        </pc:picChg>
        <pc:inkChg chg="add del">
          <ac:chgData name="Fourati, Omar" userId="543b926d-baf3-4e4d-861e-19746c37446c" providerId="ADAL" clId="{354A9320-50F2-4432-95CC-BF175A4B08C6}" dt="2023-12-05T14:10:25.752" v="1979" actId="9405"/>
          <ac:inkMkLst>
            <pc:docMk/>
            <pc:sldMk cId="4186756014" sldId="353"/>
            <ac:inkMk id="29" creationId="{8344B5D7-54AD-3244-A9E2-689CB2273AA2}"/>
          </ac:inkMkLst>
        </pc:inkChg>
        <pc:inkChg chg="add">
          <ac:chgData name="Fourati, Omar" userId="543b926d-baf3-4e4d-861e-19746c37446c" providerId="ADAL" clId="{354A9320-50F2-4432-95CC-BF175A4B08C6}" dt="2023-12-05T14:10:37.654" v="1980" actId="9405"/>
          <ac:inkMkLst>
            <pc:docMk/>
            <pc:sldMk cId="4186756014" sldId="353"/>
            <ac:inkMk id="30" creationId="{8F6D50A9-1967-EC51-F1E0-6AE995520C44}"/>
          </ac:inkMkLst>
        </pc:inkChg>
        <pc:inkChg chg="add">
          <ac:chgData name="Fourati, Omar" userId="543b926d-baf3-4e4d-861e-19746c37446c" providerId="ADAL" clId="{354A9320-50F2-4432-95CC-BF175A4B08C6}" dt="2023-12-05T14:10:40.806" v="1981" actId="9405"/>
          <ac:inkMkLst>
            <pc:docMk/>
            <pc:sldMk cId="4186756014" sldId="353"/>
            <ac:inkMk id="31" creationId="{B431E6CF-B7DA-0E91-29D5-9AF293169BC5}"/>
          </ac:inkMkLst>
        </pc:inkChg>
        <pc:inkChg chg="add">
          <ac:chgData name="Fourati, Omar" userId="543b926d-baf3-4e4d-861e-19746c37446c" providerId="ADAL" clId="{354A9320-50F2-4432-95CC-BF175A4B08C6}" dt="2023-12-05T14:10:48.338" v="1982" actId="9405"/>
          <ac:inkMkLst>
            <pc:docMk/>
            <pc:sldMk cId="4186756014" sldId="353"/>
            <ac:inkMk id="32" creationId="{AF62ECE3-3802-8385-BBAE-1B4CE213CF68}"/>
          </ac:inkMkLst>
        </pc:inkChg>
        <pc:inkChg chg="add">
          <ac:chgData name="Fourati, Omar" userId="543b926d-baf3-4e4d-861e-19746c37446c" providerId="ADAL" clId="{354A9320-50F2-4432-95CC-BF175A4B08C6}" dt="2023-12-05T14:10:50.694" v="1983" actId="9405"/>
          <ac:inkMkLst>
            <pc:docMk/>
            <pc:sldMk cId="4186756014" sldId="353"/>
            <ac:inkMk id="33" creationId="{EA9AC4C7-79EF-4463-F7AF-AD98F941B7AB}"/>
          </ac:inkMkLst>
        </pc:inkChg>
        <pc:inkChg chg="add">
          <ac:chgData name="Fourati, Omar" userId="543b926d-baf3-4e4d-861e-19746c37446c" providerId="ADAL" clId="{354A9320-50F2-4432-95CC-BF175A4B08C6}" dt="2023-12-05T14:10:53.200" v="1984" actId="9405"/>
          <ac:inkMkLst>
            <pc:docMk/>
            <pc:sldMk cId="4186756014" sldId="353"/>
            <ac:inkMk id="34" creationId="{AD27C2E4-6389-D2B6-3A4E-DD098D567590}"/>
          </ac:inkMkLst>
        </pc:inkChg>
        <pc:inkChg chg="add">
          <ac:chgData name="Fourati, Omar" userId="543b926d-baf3-4e4d-861e-19746c37446c" providerId="ADAL" clId="{354A9320-50F2-4432-95CC-BF175A4B08C6}" dt="2023-12-05T14:11:11.343" v="1985" actId="9405"/>
          <ac:inkMkLst>
            <pc:docMk/>
            <pc:sldMk cId="4186756014" sldId="353"/>
            <ac:inkMk id="35" creationId="{8D4C2882-57CE-EC7D-D48D-825960C7C5BF}"/>
          </ac:inkMkLst>
        </pc:inkChg>
        <pc:inkChg chg="add">
          <ac:chgData name="Fourati, Omar" userId="543b926d-baf3-4e4d-861e-19746c37446c" providerId="ADAL" clId="{354A9320-50F2-4432-95CC-BF175A4B08C6}" dt="2023-12-05T14:11:13.693" v="1986" actId="9405"/>
          <ac:inkMkLst>
            <pc:docMk/>
            <pc:sldMk cId="4186756014" sldId="353"/>
            <ac:inkMk id="36" creationId="{F21CE88D-6DE0-E4B0-BEB4-667A37ABA5E3}"/>
          </ac:inkMkLst>
        </pc:inkChg>
        <pc:inkChg chg="add">
          <ac:chgData name="Fourati, Omar" userId="543b926d-baf3-4e4d-861e-19746c37446c" providerId="ADAL" clId="{354A9320-50F2-4432-95CC-BF175A4B08C6}" dt="2023-12-05T14:11:15.947" v="1987" actId="9405"/>
          <ac:inkMkLst>
            <pc:docMk/>
            <pc:sldMk cId="4186756014" sldId="353"/>
            <ac:inkMk id="37" creationId="{150E29CA-6E6D-B897-90D7-32F531ED1360}"/>
          </ac:inkMkLst>
        </pc:inkChg>
        <pc:inkChg chg="add">
          <ac:chgData name="Fourati, Omar" userId="543b926d-baf3-4e4d-861e-19746c37446c" providerId="ADAL" clId="{354A9320-50F2-4432-95CC-BF175A4B08C6}" dt="2023-12-05T14:11:21.235" v="1988" actId="9405"/>
          <ac:inkMkLst>
            <pc:docMk/>
            <pc:sldMk cId="4186756014" sldId="353"/>
            <ac:inkMk id="38" creationId="{C194181B-497C-0EE2-6B6F-CE4CB3C5BB06}"/>
          </ac:inkMkLst>
        </pc:inkChg>
        <pc:inkChg chg="add">
          <ac:chgData name="Fourati, Omar" userId="543b926d-baf3-4e4d-861e-19746c37446c" providerId="ADAL" clId="{354A9320-50F2-4432-95CC-BF175A4B08C6}" dt="2023-12-05T14:11:25.087" v="1989" actId="9405"/>
          <ac:inkMkLst>
            <pc:docMk/>
            <pc:sldMk cId="4186756014" sldId="353"/>
            <ac:inkMk id="39" creationId="{1953A07E-4F44-1774-1F2B-56AA87CC1C27}"/>
          </ac:inkMkLst>
        </pc:inkChg>
        <pc:inkChg chg="add del">
          <ac:chgData name="Fourati, Omar" userId="543b926d-baf3-4e4d-861e-19746c37446c" providerId="ADAL" clId="{354A9320-50F2-4432-95CC-BF175A4B08C6}" dt="2023-12-05T14:11:38.809" v="1997" actId="9405"/>
          <ac:inkMkLst>
            <pc:docMk/>
            <pc:sldMk cId="4186756014" sldId="353"/>
            <ac:inkMk id="40" creationId="{FEEE9CA1-9F32-8421-EE28-092ED7528CA4}"/>
          </ac:inkMkLst>
        </pc:inkChg>
        <pc:inkChg chg="add del">
          <ac:chgData name="Fourati, Omar" userId="543b926d-baf3-4e4d-861e-19746c37446c" providerId="ADAL" clId="{354A9320-50F2-4432-95CC-BF175A4B08C6}" dt="2023-12-05T14:11:38.447" v="1996" actId="9405"/>
          <ac:inkMkLst>
            <pc:docMk/>
            <pc:sldMk cId="4186756014" sldId="353"/>
            <ac:inkMk id="41" creationId="{4DD9B127-B530-845D-C3E0-E678F6DAF365}"/>
          </ac:inkMkLst>
        </pc:inkChg>
        <pc:inkChg chg="add del">
          <ac:chgData name="Fourati, Omar" userId="543b926d-baf3-4e4d-861e-19746c37446c" providerId="ADAL" clId="{354A9320-50F2-4432-95CC-BF175A4B08C6}" dt="2023-12-05T14:11:38.134" v="1995" actId="9405"/>
          <ac:inkMkLst>
            <pc:docMk/>
            <pc:sldMk cId="4186756014" sldId="353"/>
            <ac:inkMk id="42" creationId="{7EED865F-8436-5399-BEA8-828BF67783C7}"/>
          </ac:inkMkLst>
        </pc:inkChg>
        <pc:inkChg chg="add del">
          <ac:chgData name="Fourati, Omar" userId="543b926d-baf3-4e4d-861e-19746c37446c" providerId="ADAL" clId="{354A9320-50F2-4432-95CC-BF175A4B08C6}" dt="2023-12-05T14:11:37.797" v="1994" actId="9405"/>
          <ac:inkMkLst>
            <pc:docMk/>
            <pc:sldMk cId="4186756014" sldId="353"/>
            <ac:inkMk id="43" creationId="{841D7867-0739-A274-699C-615EE8CA6B67}"/>
          </ac:inkMkLst>
        </pc:inkChg>
        <pc:inkChg chg="add del">
          <ac:chgData name="Fourati, Omar" userId="543b926d-baf3-4e4d-861e-19746c37446c" providerId="ADAL" clId="{354A9320-50F2-4432-95CC-BF175A4B08C6}" dt="2023-12-05T14:11:41.553" v="1999" actId="9405"/>
          <ac:inkMkLst>
            <pc:docMk/>
            <pc:sldMk cId="4186756014" sldId="353"/>
            <ac:inkMk id="44" creationId="{5FB5DE0E-5E3C-4FC7-D227-A0AA11985C71}"/>
          </ac:inkMkLst>
        </pc:inkChg>
        <pc:inkChg chg="add">
          <ac:chgData name="Fourati, Omar" userId="543b926d-baf3-4e4d-861e-19746c37446c" providerId="ADAL" clId="{354A9320-50F2-4432-95CC-BF175A4B08C6}" dt="2023-12-05T14:11:44.493" v="2000" actId="9405"/>
          <ac:inkMkLst>
            <pc:docMk/>
            <pc:sldMk cId="4186756014" sldId="353"/>
            <ac:inkMk id="45" creationId="{96F92135-8184-6057-5BA6-13CF0CFE3F55}"/>
          </ac:inkMkLst>
        </pc:inkChg>
        <pc:inkChg chg="add">
          <ac:chgData name="Fourati, Omar" userId="543b926d-baf3-4e4d-861e-19746c37446c" providerId="ADAL" clId="{354A9320-50F2-4432-95CC-BF175A4B08C6}" dt="2023-12-05T14:11:46.313" v="2001" actId="9405"/>
          <ac:inkMkLst>
            <pc:docMk/>
            <pc:sldMk cId="4186756014" sldId="353"/>
            <ac:inkMk id="46" creationId="{88380266-A308-EE38-0FF1-71AC7FA36154}"/>
          </ac:inkMkLst>
        </pc:inkChg>
        <pc:inkChg chg="add del">
          <ac:chgData name="Fourati, Omar" userId="543b926d-baf3-4e4d-861e-19746c37446c" providerId="ADAL" clId="{354A9320-50F2-4432-95CC-BF175A4B08C6}" dt="2023-12-05T14:11:52.915" v="2003" actId="9405"/>
          <ac:inkMkLst>
            <pc:docMk/>
            <pc:sldMk cId="4186756014" sldId="353"/>
            <ac:inkMk id="47" creationId="{7BD055D6-8FC3-8BA4-CB6C-B16E7DE34908}"/>
          </ac:inkMkLst>
        </pc:inkChg>
      </pc:sldChg>
      <pc:sldChg chg="modSp mod">
        <pc:chgData name="Fourati, Omar" userId="543b926d-baf3-4e4d-861e-19746c37446c" providerId="ADAL" clId="{354A9320-50F2-4432-95CC-BF175A4B08C6}" dt="2023-12-05T15:57:50.564" v="2148" actId="20577"/>
        <pc:sldMkLst>
          <pc:docMk/>
          <pc:sldMk cId="2915014058" sldId="355"/>
        </pc:sldMkLst>
        <pc:spChg chg="mod">
          <ac:chgData name="Fourati, Omar" userId="543b926d-baf3-4e4d-861e-19746c37446c" providerId="ADAL" clId="{354A9320-50F2-4432-95CC-BF175A4B08C6}" dt="2023-12-05T15:53:08.233" v="2066" actId="20577"/>
          <ac:spMkLst>
            <pc:docMk/>
            <pc:sldMk cId="2915014058" sldId="355"/>
            <ac:spMk id="6" creationId="{12A4AB08-AE8E-4C24-3FA4-29904CC5A640}"/>
          </ac:spMkLst>
        </pc:spChg>
        <pc:spChg chg="mod">
          <ac:chgData name="Fourati, Omar" userId="543b926d-baf3-4e4d-861e-19746c37446c" providerId="ADAL" clId="{354A9320-50F2-4432-95CC-BF175A4B08C6}" dt="2023-12-05T15:57:50.564" v="2148" actId="20577"/>
          <ac:spMkLst>
            <pc:docMk/>
            <pc:sldMk cId="2915014058" sldId="355"/>
            <ac:spMk id="8" creationId="{C1CC2AA4-8272-3DAE-7D99-5CAF04891413}"/>
          </ac:spMkLst>
        </pc:spChg>
      </pc:sldChg>
    </pc:docChg>
  </pc:docChgLst>
  <pc:docChgLst>
    <pc:chgData name="Fourati, Omar" userId="S::oz48ohuv@fauad.fau.de::543b926d-baf3-4e4d-861e-19746c37446c" providerId="AD" clId="Web-{77B930A9-96FF-3B2F-9660-0C45E718942A}"/>
    <pc:docChg chg="modSld">
      <pc:chgData name="Fourati, Omar" userId="S::oz48ohuv@fauad.fau.de::543b926d-baf3-4e4d-861e-19746c37446c" providerId="AD" clId="Web-{77B930A9-96FF-3B2F-9660-0C45E718942A}" dt="2024-02-08T15:05:43.806" v="207" actId="20577"/>
      <pc:docMkLst>
        <pc:docMk/>
      </pc:docMkLst>
      <pc:sldChg chg="modSp">
        <pc:chgData name="Fourati, Omar" userId="S::oz48ohuv@fauad.fau.de::543b926d-baf3-4e4d-861e-19746c37446c" providerId="AD" clId="Web-{77B930A9-96FF-3B2F-9660-0C45E718942A}" dt="2024-02-08T14:42:23.795" v="54" actId="20577"/>
        <pc:sldMkLst>
          <pc:docMk/>
          <pc:sldMk cId="3121911503" sldId="372"/>
        </pc:sldMkLst>
        <pc:spChg chg="mod">
          <ac:chgData name="Fourati, Omar" userId="S::oz48ohuv@fauad.fau.de::543b926d-baf3-4e4d-861e-19746c37446c" providerId="AD" clId="Web-{77B930A9-96FF-3B2F-9660-0C45E718942A}" dt="2024-02-08T14:42:23.795" v="54" actId="20577"/>
          <ac:spMkLst>
            <pc:docMk/>
            <pc:sldMk cId="3121911503" sldId="372"/>
            <ac:spMk id="6" creationId="{A7A7615D-2CE4-09EF-591A-61E347348644}"/>
          </ac:spMkLst>
        </pc:spChg>
      </pc:sldChg>
      <pc:sldChg chg="modSp">
        <pc:chgData name="Fourati, Omar" userId="S::oz48ohuv@fauad.fau.de::543b926d-baf3-4e4d-861e-19746c37446c" providerId="AD" clId="Web-{77B930A9-96FF-3B2F-9660-0C45E718942A}" dt="2024-02-08T14:45:24.910" v="85" actId="20577"/>
        <pc:sldMkLst>
          <pc:docMk/>
          <pc:sldMk cId="4236777214" sldId="374"/>
        </pc:sldMkLst>
        <pc:spChg chg="mod">
          <ac:chgData name="Fourati, Omar" userId="S::oz48ohuv@fauad.fau.de::543b926d-baf3-4e4d-861e-19746c37446c" providerId="AD" clId="Web-{77B930A9-96FF-3B2F-9660-0C45E718942A}" dt="2024-02-08T14:45:24.910" v="85" actId="20577"/>
          <ac:spMkLst>
            <pc:docMk/>
            <pc:sldMk cId="4236777214" sldId="374"/>
            <ac:spMk id="6" creationId="{88CFF62C-1EE1-7D77-AD00-FE746E295D03}"/>
          </ac:spMkLst>
        </pc:spChg>
      </pc:sldChg>
      <pc:sldChg chg="modSp">
        <pc:chgData name="Fourati, Omar" userId="S::oz48ohuv@fauad.fau.de::543b926d-baf3-4e4d-861e-19746c37446c" providerId="AD" clId="Web-{77B930A9-96FF-3B2F-9660-0C45E718942A}" dt="2024-02-08T14:46:46.709" v="91" actId="20577"/>
        <pc:sldMkLst>
          <pc:docMk/>
          <pc:sldMk cId="3887009211" sldId="375"/>
        </pc:sldMkLst>
        <pc:spChg chg="mod">
          <ac:chgData name="Fourati, Omar" userId="S::oz48ohuv@fauad.fau.de::543b926d-baf3-4e4d-861e-19746c37446c" providerId="AD" clId="Web-{77B930A9-96FF-3B2F-9660-0C45E718942A}" dt="2024-02-08T14:46:46.709" v="91" actId="20577"/>
          <ac:spMkLst>
            <pc:docMk/>
            <pc:sldMk cId="3887009211" sldId="375"/>
            <ac:spMk id="6" creationId="{3BABE590-5298-BFBE-18D8-3DC5D0D42924}"/>
          </ac:spMkLst>
        </pc:spChg>
      </pc:sldChg>
      <pc:sldChg chg="modSp">
        <pc:chgData name="Fourati, Omar" userId="S::oz48ohuv@fauad.fau.de::543b926d-baf3-4e4d-861e-19746c37446c" providerId="AD" clId="Web-{77B930A9-96FF-3B2F-9660-0C45E718942A}" dt="2024-02-08T14:45:55.004" v="88" actId="20577"/>
        <pc:sldMkLst>
          <pc:docMk/>
          <pc:sldMk cId="168182596" sldId="384"/>
        </pc:sldMkLst>
        <pc:spChg chg="mod">
          <ac:chgData name="Fourati, Omar" userId="S::oz48ohuv@fauad.fau.de::543b926d-baf3-4e4d-861e-19746c37446c" providerId="AD" clId="Web-{77B930A9-96FF-3B2F-9660-0C45E718942A}" dt="2024-02-08T14:45:55.004" v="88" actId="20577"/>
          <ac:spMkLst>
            <pc:docMk/>
            <pc:sldMk cId="168182596" sldId="384"/>
            <ac:spMk id="6" creationId="{506662A2-6D31-8D1B-465C-7C76C9A12EE6}"/>
          </ac:spMkLst>
        </pc:spChg>
      </pc:sldChg>
      <pc:sldChg chg="modSp">
        <pc:chgData name="Fourati, Omar" userId="S::oz48ohuv@fauad.fau.de::543b926d-baf3-4e4d-861e-19746c37446c" providerId="AD" clId="Web-{77B930A9-96FF-3B2F-9660-0C45E718942A}" dt="2024-02-08T14:47:25.132" v="134" actId="20577"/>
        <pc:sldMkLst>
          <pc:docMk/>
          <pc:sldMk cId="3321945845" sldId="386"/>
        </pc:sldMkLst>
        <pc:spChg chg="mod">
          <ac:chgData name="Fourati, Omar" userId="S::oz48ohuv@fauad.fau.de::543b926d-baf3-4e4d-861e-19746c37446c" providerId="AD" clId="Web-{77B930A9-96FF-3B2F-9660-0C45E718942A}" dt="2024-02-08T14:47:25.132" v="134" actId="20577"/>
          <ac:spMkLst>
            <pc:docMk/>
            <pc:sldMk cId="3321945845" sldId="386"/>
            <ac:spMk id="6" creationId="{02867D57-6405-293C-38B7-FE7FF2D78786}"/>
          </ac:spMkLst>
        </pc:spChg>
      </pc:sldChg>
      <pc:sldChg chg="modSp">
        <pc:chgData name="Fourati, Omar" userId="S::oz48ohuv@fauad.fau.de::543b926d-baf3-4e4d-861e-19746c37446c" providerId="AD" clId="Web-{77B930A9-96FF-3B2F-9660-0C45E718942A}" dt="2024-02-08T14:56:45.680" v="204" actId="20577"/>
        <pc:sldMkLst>
          <pc:docMk/>
          <pc:sldMk cId="246774282" sldId="387"/>
        </pc:sldMkLst>
        <pc:spChg chg="mod">
          <ac:chgData name="Fourati, Omar" userId="S::oz48ohuv@fauad.fau.de::543b926d-baf3-4e4d-861e-19746c37446c" providerId="AD" clId="Web-{77B930A9-96FF-3B2F-9660-0C45E718942A}" dt="2024-02-08T14:56:45.680" v="204" actId="20577"/>
          <ac:spMkLst>
            <pc:docMk/>
            <pc:sldMk cId="246774282" sldId="387"/>
            <ac:spMk id="6" creationId="{968E2D5E-3FF7-A5E1-0944-21651DE55212}"/>
          </ac:spMkLst>
        </pc:spChg>
      </pc:sldChg>
      <pc:sldChg chg="modSp">
        <pc:chgData name="Fourati, Omar" userId="S::oz48ohuv@fauad.fau.de::543b926d-baf3-4e4d-861e-19746c37446c" providerId="AD" clId="Web-{77B930A9-96FF-3B2F-9660-0C45E718942A}" dt="2024-02-08T15:05:43.806" v="207" actId="20577"/>
        <pc:sldMkLst>
          <pc:docMk/>
          <pc:sldMk cId="46430825" sldId="388"/>
        </pc:sldMkLst>
        <pc:spChg chg="mod">
          <ac:chgData name="Fourati, Omar" userId="S::oz48ohuv@fauad.fau.de::543b926d-baf3-4e4d-861e-19746c37446c" providerId="AD" clId="Web-{77B930A9-96FF-3B2F-9660-0C45E718942A}" dt="2024-02-08T15:05:43.806" v="207" actId="20577"/>
          <ac:spMkLst>
            <pc:docMk/>
            <pc:sldMk cId="46430825" sldId="388"/>
            <ac:spMk id="6" creationId="{86F26F9A-FC81-B7A0-9CDC-3FA00BA02330}"/>
          </ac:spMkLst>
        </pc:spChg>
      </pc:sldChg>
    </pc:docChg>
  </pc:docChgLst>
  <pc:docChgLst>
    <pc:chgData name="Jobst, Hanna" userId="S::ij08ydiq@fauad.fau.de::e86661fe-1388-4b75-a8f7-53b9f30bf181" providerId="AD" clId="Web-{FB3FDD63-883F-4D11-BC42-80BA9BDB898D}"/>
    <pc:docChg chg="modSld">
      <pc:chgData name="Jobst, Hanna" userId="S::ij08ydiq@fauad.fau.de::e86661fe-1388-4b75-a8f7-53b9f30bf181" providerId="AD" clId="Web-{FB3FDD63-883F-4D11-BC42-80BA9BDB898D}" dt="2024-02-04T12:49:05.264" v="1" actId="20577"/>
      <pc:docMkLst>
        <pc:docMk/>
      </pc:docMkLst>
      <pc:sldChg chg="modSp">
        <pc:chgData name="Jobst, Hanna" userId="S::ij08ydiq@fauad.fau.de::e86661fe-1388-4b75-a8f7-53b9f30bf181" providerId="AD" clId="Web-{FB3FDD63-883F-4D11-BC42-80BA9BDB898D}" dt="2024-02-04T12:49:05.264" v="1" actId="20577"/>
        <pc:sldMkLst>
          <pc:docMk/>
          <pc:sldMk cId="3856579613" sldId="308"/>
        </pc:sldMkLst>
        <pc:spChg chg="mod">
          <ac:chgData name="Jobst, Hanna" userId="S::ij08ydiq@fauad.fau.de::e86661fe-1388-4b75-a8f7-53b9f30bf181" providerId="AD" clId="Web-{FB3FDD63-883F-4D11-BC42-80BA9BDB898D}" dt="2024-02-04T12:49:05.264" v="1" actId="20577"/>
          <ac:spMkLst>
            <pc:docMk/>
            <pc:sldMk cId="3856579613" sldId="308"/>
            <ac:spMk id="4" creationId="{4F67DDAB-A029-4F51-840C-C39A868CCDB6}"/>
          </ac:spMkLst>
        </pc:spChg>
      </pc:sldChg>
    </pc:docChg>
  </pc:docChgLst>
  <pc:docChgLst>
    <pc:chgData name="Schneider, Magnus" userId="e376590a-0cd7-41b2-b0c3-2067402e926d" providerId="ADAL" clId="{A010EAD3-8375-4B86-807A-763FD8608CE6}"/>
    <pc:docChg chg="undo redo custSel addSld delSld modSld">
      <pc:chgData name="Schneider, Magnus" userId="e376590a-0cd7-41b2-b0c3-2067402e926d" providerId="ADAL" clId="{A010EAD3-8375-4B86-807A-763FD8608CE6}" dt="2024-01-17T14:23:30.901" v="1077" actId="20577"/>
      <pc:docMkLst>
        <pc:docMk/>
      </pc:docMkLst>
      <pc:sldChg chg="del">
        <pc:chgData name="Schneider, Magnus" userId="e376590a-0cd7-41b2-b0c3-2067402e926d" providerId="ADAL" clId="{A010EAD3-8375-4B86-807A-763FD8608CE6}" dt="2024-01-16T15:06:29.413" v="682" actId="47"/>
        <pc:sldMkLst>
          <pc:docMk/>
          <pc:sldMk cId="2622759072" sldId="334"/>
        </pc:sldMkLst>
      </pc:sldChg>
      <pc:sldChg chg="modSp mod">
        <pc:chgData name="Schneider, Magnus" userId="e376590a-0cd7-41b2-b0c3-2067402e926d" providerId="ADAL" clId="{A010EAD3-8375-4B86-807A-763FD8608CE6}" dt="2024-01-16T15:10:48.067" v="761" actId="313"/>
        <pc:sldMkLst>
          <pc:docMk/>
          <pc:sldMk cId="1217021714" sldId="348"/>
        </pc:sldMkLst>
        <pc:spChg chg="mod">
          <ac:chgData name="Schneider, Magnus" userId="e376590a-0cd7-41b2-b0c3-2067402e926d" providerId="ADAL" clId="{A010EAD3-8375-4B86-807A-763FD8608CE6}" dt="2024-01-16T15:10:48.067" v="761" actId="313"/>
          <ac:spMkLst>
            <pc:docMk/>
            <pc:sldMk cId="1217021714" sldId="348"/>
            <ac:spMk id="27" creationId="{892AC8B2-E6F1-15E7-0A5F-DAD1756539DF}"/>
          </ac:spMkLst>
        </pc:spChg>
        <pc:picChg chg="mod">
          <ac:chgData name="Schneider, Magnus" userId="e376590a-0cd7-41b2-b0c3-2067402e926d" providerId="ADAL" clId="{A010EAD3-8375-4B86-807A-763FD8608CE6}" dt="2024-01-16T15:06:58.208" v="687"/>
          <ac:picMkLst>
            <pc:docMk/>
            <pc:sldMk cId="1217021714" sldId="348"/>
            <ac:picMk id="24" creationId="{CFDA0A06-288F-38D5-9CC3-9AC31E742B23}"/>
          </ac:picMkLst>
        </pc:picChg>
        <pc:picChg chg="mod">
          <ac:chgData name="Schneider, Magnus" userId="e376590a-0cd7-41b2-b0c3-2067402e926d" providerId="ADAL" clId="{A010EAD3-8375-4B86-807A-763FD8608CE6}" dt="2024-01-16T15:07:01.214" v="688"/>
          <ac:picMkLst>
            <pc:docMk/>
            <pc:sldMk cId="1217021714" sldId="348"/>
            <ac:picMk id="30" creationId="{C728B0BA-08FC-42A6-A10A-CA7ACF3F0178}"/>
          </ac:picMkLst>
        </pc:picChg>
        <pc:picChg chg="mod">
          <ac:chgData name="Schneider, Magnus" userId="e376590a-0cd7-41b2-b0c3-2067402e926d" providerId="ADAL" clId="{A010EAD3-8375-4B86-807A-763FD8608CE6}" dt="2024-01-16T15:07:04.095" v="689"/>
          <ac:picMkLst>
            <pc:docMk/>
            <pc:sldMk cId="1217021714" sldId="348"/>
            <ac:picMk id="33" creationId="{619CE57C-B3BC-B004-E717-B1F195263F0D}"/>
          </ac:picMkLst>
        </pc:picChg>
      </pc:sldChg>
      <pc:sldChg chg="del">
        <pc:chgData name="Schneider, Magnus" userId="e376590a-0cd7-41b2-b0c3-2067402e926d" providerId="ADAL" clId="{A010EAD3-8375-4B86-807A-763FD8608CE6}" dt="2024-01-16T15:06:52.590" v="686" actId="47"/>
        <pc:sldMkLst>
          <pc:docMk/>
          <pc:sldMk cId="4161753607" sldId="349"/>
        </pc:sldMkLst>
      </pc:sldChg>
      <pc:sldChg chg="del">
        <pc:chgData name="Schneider, Magnus" userId="e376590a-0cd7-41b2-b0c3-2067402e926d" providerId="ADAL" clId="{A010EAD3-8375-4B86-807A-763FD8608CE6}" dt="2024-01-16T15:06:49.391" v="684" actId="47"/>
        <pc:sldMkLst>
          <pc:docMk/>
          <pc:sldMk cId="2641090262" sldId="351"/>
        </pc:sldMkLst>
      </pc:sldChg>
      <pc:sldChg chg="del">
        <pc:chgData name="Schneider, Magnus" userId="e376590a-0cd7-41b2-b0c3-2067402e926d" providerId="ADAL" clId="{A010EAD3-8375-4B86-807A-763FD8608CE6}" dt="2024-01-16T15:06:50.705" v="685" actId="47"/>
        <pc:sldMkLst>
          <pc:docMk/>
          <pc:sldMk cId="2045824023" sldId="352"/>
        </pc:sldMkLst>
      </pc:sldChg>
      <pc:sldChg chg="del">
        <pc:chgData name="Schneider, Magnus" userId="e376590a-0cd7-41b2-b0c3-2067402e926d" providerId="ADAL" clId="{A010EAD3-8375-4B86-807A-763FD8608CE6}" dt="2024-01-16T15:06:47.705" v="683" actId="47"/>
        <pc:sldMkLst>
          <pc:docMk/>
          <pc:sldMk cId="4186756014" sldId="353"/>
        </pc:sldMkLst>
      </pc:sldChg>
      <pc:sldChg chg="del">
        <pc:chgData name="Schneider, Magnus" userId="e376590a-0cd7-41b2-b0c3-2067402e926d" providerId="ADAL" clId="{A010EAD3-8375-4B86-807A-763FD8608CE6}" dt="2024-01-16T15:07:11.790" v="691" actId="47"/>
        <pc:sldMkLst>
          <pc:docMk/>
          <pc:sldMk cId="373879748" sldId="354"/>
        </pc:sldMkLst>
      </pc:sldChg>
      <pc:sldChg chg="del mod modShow">
        <pc:chgData name="Schneider, Magnus" userId="e376590a-0cd7-41b2-b0c3-2067402e926d" providerId="ADAL" clId="{A010EAD3-8375-4B86-807A-763FD8608CE6}" dt="2024-01-16T15:07:09.422" v="690" actId="47"/>
        <pc:sldMkLst>
          <pc:docMk/>
          <pc:sldMk cId="2915014058" sldId="355"/>
        </pc:sldMkLst>
      </pc:sldChg>
      <pc:sldChg chg="del mod modShow">
        <pc:chgData name="Schneider, Magnus" userId="e376590a-0cd7-41b2-b0c3-2067402e926d" providerId="ADAL" clId="{A010EAD3-8375-4B86-807A-763FD8608CE6}" dt="2024-01-16T15:07:14.664" v="692" actId="47"/>
        <pc:sldMkLst>
          <pc:docMk/>
          <pc:sldMk cId="359739248" sldId="356"/>
        </pc:sldMkLst>
      </pc:sldChg>
      <pc:sldChg chg="modSp mod">
        <pc:chgData name="Schneider, Magnus" userId="e376590a-0cd7-41b2-b0c3-2067402e926d" providerId="ADAL" clId="{A010EAD3-8375-4B86-807A-763FD8608CE6}" dt="2024-01-16T15:49:35.008" v="763" actId="1076"/>
        <pc:sldMkLst>
          <pc:docMk/>
          <pc:sldMk cId="310617772" sldId="357"/>
        </pc:sldMkLst>
        <pc:spChg chg="mod">
          <ac:chgData name="Schneider, Magnus" userId="e376590a-0cd7-41b2-b0c3-2067402e926d" providerId="ADAL" clId="{A010EAD3-8375-4B86-807A-763FD8608CE6}" dt="2024-01-16T15:49:35.008" v="763" actId="1076"/>
          <ac:spMkLst>
            <pc:docMk/>
            <pc:sldMk cId="310617772" sldId="357"/>
            <ac:spMk id="5" creationId="{6D269181-9BBF-BC70-6739-9E33F8B61D7E}"/>
          </ac:spMkLst>
        </pc:spChg>
      </pc:sldChg>
      <pc:sldChg chg="addSp delSp modSp add mod">
        <pc:chgData name="Schneider, Magnus" userId="e376590a-0cd7-41b2-b0c3-2067402e926d" providerId="ADAL" clId="{A010EAD3-8375-4B86-807A-763FD8608CE6}" dt="2024-01-17T14:23:30.901" v="1077" actId="20577"/>
        <pc:sldMkLst>
          <pc:docMk/>
          <pc:sldMk cId="218260472" sldId="358"/>
        </pc:sldMkLst>
        <pc:spChg chg="mod">
          <ac:chgData name="Schneider, Magnus" userId="e376590a-0cd7-41b2-b0c3-2067402e926d" providerId="ADAL" clId="{A010EAD3-8375-4B86-807A-763FD8608CE6}" dt="2024-01-14T11:29:19.301" v="20" actId="20577"/>
          <ac:spMkLst>
            <pc:docMk/>
            <pc:sldMk cId="218260472" sldId="358"/>
            <ac:spMk id="6" creationId="{12A4AB08-AE8E-4C24-3FA4-29904CC5A640}"/>
          </ac:spMkLst>
        </pc:spChg>
        <pc:spChg chg="mod">
          <ac:chgData name="Schneider, Magnus" userId="e376590a-0cd7-41b2-b0c3-2067402e926d" providerId="ADAL" clId="{A010EAD3-8375-4B86-807A-763FD8608CE6}" dt="2024-01-14T11:29:24.380" v="31" actId="20577"/>
          <ac:spMkLst>
            <pc:docMk/>
            <pc:sldMk cId="218260472" sldId="358"/>
            <ac:spMk id="8" creationId="{C1CC2AA4-8272-3DAE-7D99-5CAF04891413}"/>
          </ac:spMkLst>
        </pc:spChg>
        <pc:spChg chg="add mod">
          <ac:chgData name="Schneider, Magnus" userId="e376590a-0cd7-41b2-b0c3-2067402e926d" providerId="ADAL" clId="{A010EAD3-8375-4B86-807A-763FD8608CE6}" dt="2024-01-16T15:03:29.777" v="669" actId="113"/>
          <ac:spMkLst>
            <pc:docMk/>
            <pc:sldMk cId="218260472" sldId="358"/>
            <ac:spMk id="17" creationId="{5C79CD4A-F47E-6EC4-A497-7B095961B973}"/>
          </ac:spMkLst>
        </pc:spChg>
        <pc:spChg chg="add mod">
          <ac:chgData name="Schneider, Magnus" userId="e376590a-0cd7-41b2-b0c3-2067402e926d" providerId="ADAL" clId="{A010EAD3-8375-4B86-807A-763FD8608CE6}" dt="2024-01-16T15:03:25.892" v="668" actId="1076"/>
          <ac:spMkLst>
            <pc:docMk/>
            <pc:sldMk cId="218260472" sldId="358"/>
            <ac:spMk id="18" creationId="{8EA10E3D-DD98-80DE-D10E-3D76DF0F8CB8}"/>
          </ac:spMkLst>
        </pc:spChg>
        <pc:spChg chg="add mod">
          <ac:chgData name="Schneider, Magnus" userId="e376590a-0cd7-41b2-b0c3-2067402e926d" providerId="ADAL" clId="{A010EAD3-8375-4B86-807A-763FD8608CE6}" dt="2024-01-16T15:03:15.585" v="665" actId="1076"/>
          <ac:spMkLst>
            <pc:docMk/>
            <pc:sldMk cId="218260472" sldId="358"/>
            <ac:spMk id="19" creationId="{013E2AA6-E1B1-8CDB-6349-0919B1159245}"/>
          </ac:spMkLst>
        </pc:spChg>
        <pc:spChg chg="add mod">
          <ac:chgData name="Schneider, Magnus" userId="e376590a-0cd7-41b2-b0c3-2067402e926d" providerId="ADAL" clId="{A010EAD3-8375-4B86-807A-763FD8608CE6}" dt="2024-01-16T15:03:04.628" v="662" actId="113"/>
          <ac:spMkLst>
            <pc:docMk/>
            <pc:sldMk cId="218260472" sldId="358"/>
            <ac:spMk id="20" creationId="{0C05BAD9-10FE-AC62-3E9D-1888AABF0DE4}"/>
          </ac:spMkLst>
        </pc:spChg>
        <pc:spChg chg="add mod">
          <ac:chgData name="Schneider, Magnus" userId="e376590a-0cd7-41b2-b0c3-2067402e926d" providerId="ADAL" clId="{A010EAD3-8375-4B86-807A-763FD8608CE6}" dt="2024-01-14T11:50:23.794" v="515" actId="120"/>
          <ac:spMkLst>
            <pc:docMk/>
            <pc:sldMk cId="218260472" sldId="358"/>
            <ac:spMk id="21" creationId="{6704C658-3C72-A56E-9470-D8D2E490D1DD}"/>
          </ac:spMkLst>
        </pc:spChg>
        <pc:spChg chg="add del mod">
          <ac:chgData name="Schneider, Magnus" userId="e376590a-0cd7-41b2-b0c3-2067402e926d" providerId="ADAL" clId="{A010EAD3-8375-4B86-807A-763FD8608CE6}" dt="2024-01-14T11:42:14.247" v="190" actId="478"/>
          <ac:spMkLst>
            <pc:docMk/>
            <pc:sldMk cId="218260472" sldId="358"/>
            <ac:spMk id="22" creationId="{6F356E08-143E-6E32-BBBA-BCA989BC8AA0}"/>
          </ac:spMkLst>
        </pc:spChg>
        <pc:spChg chg="add mod">
          <ac:chgData name="Schneider, Magnus" userId="e376590a-0cd7-41b2-b0c3-2067402e926d" providerId="ADAL" clId="{A010EAD3-8375-4B86-807A-763FD8608CE6}" dt="2024-01-14T11:50:23.794" v="515" actId="120"/>
          <ac:spMkLst>
            <pc:docMk/>
            <pc:sldMk cId="218260472" sldId="358"/>
            <ac:spMk id="23" creationId="{C740E20E-9E23-A7B5-72E8-D780E72D2A43}"/>
          </ac:spMkLst>
        </pc:spChg>
        <pc:spChg chg="add mod">
          <ac:chgData name="Schneider, Magnus" userId="e376590a-0cd7-41b2-b0c3-2067402e926d" providerId="ADAL" clId="{A010EAD3-8375-4B86-807A-763FD8608CE6}" dt="2024-01-17T14:23:25.904" v="1073" actId="20577"/>
          <ac:spMkLst>
            <pc:docMk/>
            <pc:sldMk cId="218260472" sldId="358"/>
            <ac:spMk id="24" creationId="{F09FE1C3-5C74-EC03-3F2A-5D704BB28005}"/>
          </ac:spMkLst>
        </pc:spChg>
        <pc:spChg chg="add mod">
          <ac:chgData name="Schneider, Magnus" userId="e376590a-0cd7-41b2-b0c3-2067402e926d" providerId="ADAL" clId="{A010EAD3-8375-4B86-807A-763FD8608CE6}" dt="2024-01-17T14:23:30.901" v="1077" actId="20577"/>
          <ac:spMkLst>
            <pc:docMk/>
            <pc:sldMk cId="218260472" sldId="358"/>
            <ac:spMk id="25" creationId="{1DCE7B81-1472-C2EE-95FC-494DBD4DFFC4}"/>
          </ac:spMkLst>
        </pc:spChg>
        <pc:picChg chg="add mod">
          <ac:chgData name="Schneider, Magnus" userId="e376590a-0cd7-41b2-b0c3-2067402e926d" providerId="ADAL" clId="{A010EAD3-8375-4B86-807A-763FD8608CE6}" dt="2024-01-14T11:40:24.761" v="115"/>
          <ac:picMkLst>
            <pc:docMk/>
            <pc:sldMk cId="218260472" sldId="358"/>
            <ac:picMk id="9" creationId="{7A2ABDC8-41FA-E7B1-0DCC-C4C1AA48BB22}"/>
          </ac:picMkLst>
        </pc:picChg>
        <pc:picChg chg="add mod">
          <ac:chgData name="Schneider, Magnus" userId="e376590a-0cd7-41b2-b0c3-2067402e926d" providerId="ADAL" clId="{A010EAD3-8375-4B86-807A-763FD8608CE6}" dt="2024-01-14T11:40:24.761" v="115"/>
          <ac:picMkLst>
            <pc:docMk/>
            <pc:sldMk cId="218260472" sldId="358"/>
            <ac:picMk id="11" creationId="{FA9A2273-DC9D-39F0-C18B-56D72AA91CE4}"/>
          </ac:picMkLst>
        </pc:picChg>
        <pc:picChg chg="add mod">
          <ac:chgData name="Schneider, Magnus" userId="e376590a-0cd7-41b2-b0c3-2067402e926d" providerId="ADAL" clId="{A010EAD3-8375-4B86-807A-763FD8608CE6}" dt="2024-01-14T11:40:24.761" v="115"/>
          <ac:picMkLst>
            <pc:docMk/>
            <pc:sldMk cId="218260472" sldId="358"/>
            <ac:picMk id="13" creationId="{1E28A842-87FD-A3E3-037A-997FBF408BB4}"/>
          </ac:picMkLst>
        </pc:picChg>
        <pc:picChg chg="add mod">
          <ac:chgData name="Schneider, Magnus" userId="e376590a-0cd7-41b2-b0c3-2067402e926d" providerId="ADAL" clId="{A010EAD3-8375-4B86-807A-763FD8608CE6}" dt="2024-01-14T11:40:24.761" v="115"/>
          <ac:picMkLst>
            <pc:docMk/>
            <pc:sldMk cId="218260472" sldId="358"/>
            <ac:picMk id="15" creationId="{BA44EBC1-BD21-7171-EB00-E642220F8C8C}"/>
          </ac:picMkLst>
        </pc:picChg>
        <pc:picChg chg="del">
          <ac:chgData name="Schneider, Magnus" userId="e376590a-0cd7-41b2-b0c3-2067402e926d" providerId="ADAL" clId="{A010EAD3-8375-4B86-807A-763FD8608CE6}" dt="2024-01-14T11:29:12.509" v="1" actId="478"/>
          <ac:picMkLst>
            <pc:docMk/>
            <pc:sldMk cId="218260472" sldId="358"/>
            <ac:picMk id="16" creationId="{DD037F50-FD31-7839-14DB-2E6FE00165B8}"/>
          </ac:picMkLst>
        </pc:picChg>
      </pc:sldChg>
      <pc:sldChg chg="addSp modSp add mod">
        <pc:chgData name="Schneider, Magnus" userId="e376590a-0cd7-41b2-b0c3-2067402e926d" providerId="ADAL" clId="{A010EAD3-8375-4B86-807A-763FD8608CE6}" dt="2024-01-16T15:03:49.902" v="675" actId="1076"/>
        <pc:sldMkLst>
          <pc:docMk/>
          <pc:sldMk cId="1255631191" sldId="359"/>
        </pc:sldMkLst>
        <pc:spChg chg="add mod">
          <ac:chgData name="Schneider, Magnus" userId="e376590a-0cd7-41b2-b0c3-2067402e926d" providerId="ADAL" clId="{A010EAD3-8375-4B86-807A-763FD8608CE6}" dt="2024-01-14T11:50:16.149" v="512" actId="120"/>
          <ac:spMkLst>
            <pc:docMk/>
            <pc:sldMk cId="1255631191" sldId="359"/>
            <ac:spMk id="5" creationId="{4D1788B7-45F8-A57D-52CB-B314F56F3966}"/>
          </ac:spMkLst>
        </pc:spChg>
        <pc:spChg chg="add mod">
          <ac:chgData name="Schneider, Magnus" userId="e376590a-0cd7-41b2-b0c3-2067402e926d" providerId="ADAL" clId="{A010EAD3-8375-4B86-807A-763FD8608CE6}" dt="2024-01-14T11:51:21.844" v="530" actId="20577"/>
          <ac:spMkLst>
            <pc:docMk/>
            <pc:sldMk cId="1255631191" sldId="359"/>
            <ac:spMk id="10" creationId="{D5FAA0D7-ABA2-2F07-3721-39F714F588C7}"/>
          </ac:spMkLst>
        </pc:spChg>
        <pc:spChg chg="add mod">
          <ac:chgData name="Schneider, Magnus" userId="e376590a-0cd7-41b2-b0c3-2067402e926d" providerId="ADAL" clId="{A010EAD3-8375-4B86-807A-763FD8608CE6}" dt="2024-01-14T11:51:09.997" v="528" actId="20577"/>
          <ac:spMkLst>
            <pc:docMk/>
            <pc:sldMk cId="1255631191" sldId="359"/>
            <ac:spMk id="12" creationId="{C5DD7929-C5A2-740E-7D3B-B3CB155B48BB}"/>
          </ac:spMkLst>
        </pc:spChg>
        <pc:spChg chg="add mod">
          <ac:chgData name="Schneider, Magnus" userId="e376590a-0cd7-41b2-b0c3-2067402e926d" providerId="ADAL" clId="{A010EAD3-8375-4B86-807A-763FD8608CE6}" dt="2024-01-14T11:51:41.794" v="535" actId="108"/>
          <ac:spMkLst>
            <pc:docMk/>
            <pc:sldMk cId="1255631191" sldId="359"/>
            <ac:spMk id="14" creationId="{E4C1F8A9-A905-918A-0955-951F1161B5BB}"/>
          </ac:spMkLst>
        </pc:spChg>
        <pc:spChg chg="mod">
          <ac:chgData name="Schneider, Magnus" userId="e376590a-0cd7-41b2-b0c3-2067402e926d" providerId="ADAL" clId="{A010EAD3-8375-4B86-807A-763FD8608CE6}" dt="2024-01-16T15:03:49.902" v="675" actId="1076"/>
          <ac:spMkLst>
            <pc:docMk/>
            <pc:sldMk cId="1255631191" sldId="359"/>
            <ac:spMk id="17" creationId="{5C79CD4A-F47E-6EC4-A497-7B095961B973}"/>
          </ac:spMkLst>
        </pc:spChg>
        <pc:spChg chg="mod">
          <ac:chgData name="Schneider, Magnus" userId="e376590a-0cd7-41b2-b0c3-2067402e926d" providerId="ADAL" clId="{A010EAD3-8375-4B86-807A-763FD8608CE6}" dt="2024-01-16T15:03:36.417" v="671" actId="113"/>
          <ac:spMkLst>
            <pc:docMk/>
            <pc:sldMk cId="1255631191" sldId="359"/>
            <ac:spMk id="18" creationId="{8EA10E3D-DD98-80DE-D10E-3D76DF0F8CB8}"/>
          </ac:spMkLst>
        </pc:spChg>
        <pc:spChg chg="mod">
          <ac:chgData name="Schneider, Magnus" userId="e376590a-0cd7-41b2-b0c3-2067402e926d" providerId="ADAL" clId="{A010EAD3-8375-4B86-807A-763FD8608CE6}" dt="2024-01-16T15:03:38.514" v="672" actId="113"/>
          <ac:spMkLst>
            <pc:docMk/>
            <pc:sldMk cId="1255631191" sldId="359"/>
            <ac:spMk id="19" creationId="{013E2AA6-E1B1-8CDB-6349-0919B1159245}"/>
          </ac:spMkLst>
        </pc:spChg>
        <pc:spChg chg="mod">
          <ac:chgData name="Schneider, Magnus" userId="e376590a-0cd7-41b2-b0c3-2067402e926d" providerId="ADAL" clId="{A010EAD3-8375-4B86-807A-763FD8608CE6}" dt="2024-01-16T15:03:42.919" v="673" actId="113"/>
          <ac:spMkLst>
            <pc:docMk/>
            <pc:sldMk cId="1255631191" sldId="359"/>
            <ac:spMk id="20" creationId="{0C05BAD9-10FE-AC62-3E9D-1888AABF0DE4}"/>
          </ac:spMkLst>
        </pc:spChg>
        <pc:picChg chg="mod">
          <ac:chgData name="Schneider, Magnus" userId="e376590a-0cd7-41b2-b0c3-2067402e926d" providerId="ADAL" clId="{A010EAD3-8375-4B86-807A-763FD8608CE6}" dt="2024-01-14T11:40:30.056" v="116"/>
          <ac:picMkLst>
            <pc:docMk/>
            <pc:sldMk cId="1255631191" sldId="359"/>
            <ac:picMk id="9" creationId="{7A2ABDC8-41FA-E7B1-0DCC-C4C1AA48BB22}"/>
          </ac:picMkLst>
        </pc:picChg>
        <pc:picChg chg="mod">
          <ac:chgData name="Schneider, Magnus" userId="e376590a-0cd7-41b2-b0c3-2067402e926d" providerId="ADAL" clId="{A010EAD3-8375-4B86-807A-763FD8608CE6}" dt="2024-01-14T11:40:30.056" v="116"/>
          <ac:picMkLst>
            <pc:docMk/>
            <pc:sldMk cId="1255631191" sldId="359"/>
            <ac:picMk id="11" creationId="{FA9A2273-DC9D-39F0-C18B-56D72AA91CE4}"/>
          </ac:picMkLst>
        </pc:picChg>
        <pc:picChg chg="mod">
          <ac:chgData name="Schneider, Magnus" userId="e376590a-0cd7-41b2-b0c3-2067402e926d" providerId="ADAL" clId="{A010EAD3-8375-4B86-807A-763FD8608CE6}" dt="2024-01-14T11:40:30.056" v="116"/>
          <ac:picMkLst>
            <pc:docMk/>
            <pc:sldMk cId="1255631191" sldId="359"/>
            <ac:picMk id="13" creationId="{1E28A842-87FD-A3E3-037A-997FBF408BB4}"/>
          </ac:picMkLst>
        </pc:picChg>
        <pc:picChg chg="mod">
          <ac:chgData name="Schneider, Magnus" userId="e376590a-0cd7-41b2-b0c3-2067402e926d" providerId="ADAL" clId="{A010EAD3-8375-4B86-807A-763FD8608CE6}" dt="2024-01-14T11:40:30.056" v="116"/>
          <ac:picMkLst>
            <pc:docMk/>
            <pc:sldMk cId="1255631191" sldId="359"/>
            <ac:picMk id="15" creationId="{BA44EBC1-BD21-7171-EB00-E642220F8C8C}"/>
          </ac:picMkLst>
        </pc:picChg>
      </pc:sldChg>
      <pc:sldChg chg="addSp delSp modSp new mod">
        <pc:chgData name="Schneider, Magnus" userId="e376590a-0cd7-41b2-b0c3-2067402e926d" providerId="ADAL" clId="{A010EAD3-8375-4B86-807A-763FD8608CE6}" dt="2024-01-16T15:56:38.684" v="1061" actId="1076"/>
        <pc:sldMkLst>
          <pc:docMk/>
          <pc:sldMk cId="2360349951" sldId="360"/>
        </pc:sldMkLst>
        <pc:spChg chg="mod">
          <ac:chgData name="Schneider, Magnus" userId="e376590a-0cd7-41b2-b0c3-2067402e926d" providerId="ADAL" clId="{A010EAD3-8375-4B86-807A-763FD8608CE6}" dt="2024-01-14T11:52:24.122" v="571" actId="20577"/>
          <ac:spMkLst>
            <pc:docMk/>
            <pc:sldMk cId="2360349951" sldId="360"/>
            <ac:spMk id="5" creationId="{137C7B6E-53A8-95EF-E42A-3059412ADB84}"/>
          </ac:spMkLst>
        </pc:spChg>
        <pc:spChg chg="add del mod">
          <ac:chgData name="Schneider, Magnus" userId="e376590a-0cd7-41b2-b0c3-2067402e926d" providerId="ADAL" clId="{A010EAD3-8375-4B86-807A-763FD8608CE6}" dt="2024-01-16T15:49:48.512" v="766" actId="478"/>
          <ac:spMkLst>
            <pc:docMk/>
            <pc:sldMk cId="2360349951" sldId="360"/>
            <ac:spMk id="6" creationId="{56CC4400-963D-A97D-CCA2-1EFC7F245FA8}"/>
          </ac:spMkLst>
        </pc:spChg>
        <pc:spChg chg="del mod">
          <ac:chgData name="Schneider, Magnus" userId="e376590a-0cd7-41b2-b0c3-2067402e926d" providerId="ADAL" clId="{A010EAD3-8375-4B86-807A-763FD8608CE6}" dt="2024-01-16T15:04:02.155" v="676" actId="478"/>
          <ac:spMkLst>
            <pc:docMk/>
            <pc:sldMk cId="2360349951" sldId="360"/>
            <ac:spMk id="6" creationId="{DD5ACF74-D463-13E1-B468-07491EF0840B}"/>
          </ac:spMkLst>
        </pc:spChg>
        <pc:spChg chg="del mod">
          <ac:chgData name="Schneider, Magnus" userId="e376590a-0cd7-41b2-b0c3-2067402e926d" providerId="ADAL" clId="{A010EAD3-8375-4B86-807A-763FD8608CE6}" dt="2024-01-16T15:04:08.074" v="680" actId="478"/>
          <ac:spMkLst>
            <pc:docMk/>
            <pc:sldMk cId="2360349951" sldId="360"/>
            <ac:spMk id="7" creationId="{63FCE9A0-54B6-085A-B1FA-508644043BB8}"/>
          </ac:spMkLst>
        </pc:spChg>
        <pc:spChg chg="add mod">
          <ac:chgData name="Schneider, Magnus" userId="e376590a-0cd7-41b2-b0c3-2067402e926d" providerId="ADAL" clId="{A010EAD3-8375-4B86-807A-763FD8608CE6}" dt="2024-01-16T15:56:38.684" v="1061" actId="1076"/>
          <ac:spMkLst>
            <pc:docMk/>
            <pc:sldMk cId="2360349951" sldId="360"/>
            <ac:spMk id="7" creationId="{96CAAC70-0B85-FC61-C1EB-A174E58C078C}"/>
          </ac:spMkLst>
        </pc:spChg>
        <pc:spChg chg="del mod">
          <ac:chgData name="Schneider, Magnus" userId="e376590a-0cd7-41b2-b0c3-2067402e926d" providerId="ADAL" clId="{A010EAD3-8375-4B86-807A-763FD8608CE6}" dt="2024-01-16T15:04:04.168" v="677" actId="478"/>
          <ac:spMkLst>
            <pc:docMk/>
            <pc:sldMk cId="2360349951" sldId="360"/>
            <ac:spMk id="8" creationId="{576997F5-459F-BF3C-9097-93EA0D07FFF3}"/>
          </ac:spMkLst>
        </pc:spChg>
        <pc:spChg chg="add mod">
          <ac:chgData name="Schneider, Magnus" userId="e376590a-0cd7-41b2-b0c3-2067402e926d" providerId="ADAL" clId="{A010EAD3-8375-4B86-807A-763FD8608CE6}" dt="2024-01-16T15:56:38.684" v="1061" actId="1076"/>
          <ac:spMkLst>
            <pc:docMk/>
            <pc:sldMk cId="2360349951" sldId="360"/>
            <ac:spMk id="8" creationId="{6D52B467-A4EB-E53D-80C5-CAAD48149A0B}"/>
          </ac:spMkLst>
        </pc:spChg>
        <pc:spChg chg="mod">
          <ac:chgData name="Schneider, Magnus" userId="e376590a-0cd7-41b2-b0c3-2067402e926d" providerId="ADAL" clId="{A010EAD3-8375-4B86-807A-763FD8608CE6}" dt="2024-01-14T11:52:38.151" v="628" actId="20577"/>
          <ac:spMkLst>
            <pc:docMk/>
            <pc:sldMk cId="2360349951" sldId="360"/>
            <ac:spMk id="10" creationId="{4FC64F8A-4236-73E7-BF7D-4AFF09008572}"/>
          </ac:spMkLst>
        </pc:spChg>
        <pc:spChg chg="add mod">
          <ac:chgData name="Schneider, Magnus" userId="e376590a-0cd7-41b2-b0c3-2067402e926d" providerId="ADAL" clId="{A010EAD3-8375-4B86-807A-763FD8608CE6}" dt="2024-01-16T15:56:38.684" v="1061" actId="1076"/>
          <ac:spMkLst>
            <pc:docMk/>
            <pc:sldMk cId="2360349951" sldId="360"/>
            <ac:spMk id="11" creationId="{B26204AF-00A4-EB59-ED19-5582DFE15712}"/>
          </ac:spMkLst>
        </pc:spChg>
        <pc:spChg chg="add del mod">
          <ac:chgData name="Schneider, Magnus" userId="e376590a-0cd7-41b2-b0c3-2067402e926d" providerId="ADAL" clId="{A010EAD3-8375-4B86-807A-763FD8608CE6}" dt="2024-01-16T15:04:05.584" v="678" actId="478"/>
          <ac:spMkLst>
            <pc:docMk/>
            <pc:sldMk cId="2360349951" sldId="360"/>
            <ac:spMk id="12" creationId="{0119D0CD-1BC5-800D-6A3A-4E7B613E60AC}"/>
          </ac:spMkLst>
        </pc:spChg>
        <pc:spChg chg="add mod">
          <ac:chgData name="Schneider, Magnus" userId="e376590a-0cd7-41b2-b0c3-2067402e926d" providerId="ADAL" clId="{A010EAD3-8375-4B86-807A-763FD8608CE6}" dt="2024-01-16T15:56:38.684" v="1061" actId="1076"/>
          <ac:spMkLst>
            <pc:docMk/>
            <pc:sldMk cId="2360349951" sldId="360"/>
            <ac:spMk id="12" creationId="{82A578C3-5892-0C86-D5A7-7887B6BB5168}"/>
          </ac:spMkLst>
        </pc:spChg>
        <pc:spChg chg="add mod">
          <ac:chgData name="Schneider, Magnus" userId="e376590a-0cd7-41b2-b0c3-2067402e926d" providerId="ADAL" clId="{A010EAD3-8375-4B86-807A-763FD8608CE6}" dt="2024-01-16T15:56:38.684" v="1061" actId="1076"/>
          <ac:spMkLst>
            <pc:docMk/>
            <pc:sldMk cId="2360349951" sldId="360"/>
            <ac:spMk id="13" creationId="{BA710E5C-DDFF-B45C-9F47-B509F2B8BEB1}"/>
          </ac:spMkLst>
        </pc:spChg>
        <pc:spChg chg="add del mod">
          <ac:chgData name="Schneider, Magnus" userId="e376590a-0cd7-41b2-b0c3-2067402e926d" providerId="ADAL" clId="{A010EAD3-8375-4B86-807A-763FD8608CE6}" dt="2024-01-16T15:04:06.551" v="679" actId="478"/>
          <ac:spMkLst>
            <pc:docMk/>
            <pc:sldMk cId="2360349951" sldId="360"/>
            <ac:spMk id="14" creationId="{AC84E6EE-D78A-778F-3AE5-B29299503CA8}"/>
          </ac:spMkLst>
        </pc:spChg>
        <pc:spChg chg="add mod">
          <ac:chgData name="Schneider, Magnus" userId="e376590a-0cd7-41b2-b0c3-2067402e926d" providerId="ADAL" clId="{A010EAD3-8375-4B86-807A-763FD8608CE6}" dt="2024-01-16T15:56:38.684" v="1061" actId="1076"/>
          <ac:spMkLst>
            <pc:docMk/>
            <pc:sldMk cId="2360349951" sldId="360"/>
            <ac:spMk id="14" creationId="{F329C0E5-2FAD-3C03-108C-8B7793966176}"/>
          </ac:spMkLst>
        </pc:spChg>
        <pc:spChg chg="add mod">
          <ac:chgData name="Schneider, Magnus" userId="e376590a-0cd7-41b2-b0c3-2067402e926d" providerId="ADAL" clId="{A010EAD3-8375-4B86-807A-763FD8608CE6}" dt="2024-01-16T15:56:38.684" v="1061" actId="1076"/>
          <ac:spMkLst>
            <pc:docMk/>
            <pc:sldMk cId="2360349951" sldId="360"/>
            <ac:spMk id="15" creationId="{346F2CFD-B2F1-99F7-F4D6-EF893637D626}"/>
          </ac:spMkLst>
        </pc:spChg>
        <pc:spChg chg="add del mod">
          <ac:chgData name="Schneider, Magnus" userId="e376590a-0cd7-41b2-b0c3-2067402e926d" providerId="ADAL" clId="{A010EAD3-8375-4B86-807A-763FD8608CE6}" dt="2024-01-16T15:04:09.525" v="681" actId="478"/>
          <ac:spMkLst>
            <pc:docMk/>
            <pc:sldMk cId="2360349951" sldId="360"/>
            <ac:spMk id="16" creationId="{D2A62492-ED2F-70C5-BF0A-10BDA8EFEA3A}"/>
          </ac:spMkLst>
        </pc:spChg>
      </pc:sldChg>
      <pc:sldChg chg="modSp new mod">
        <pc:chgData name="Schneider, Magnus" userId="e376590a-0cd7-41b2-b0c3-2067402e926d" providerId="ADAL" clId="{A010EAD3-8375-4B86-807A-763FD8608CE6}" dt="2024-01-16T15:09:20.192" v="758" actId="20577"/>
        <pc:sldMkLst>
          <pc:docMk/>
          <pc:sldMk cId="796163679" sldId="364"/>
        </pc:sldMkLst>
        <pc:spChg chg="mod">
          <ac:chgData name="Schneider, Magnus" userId="e376590a-0cd7-41b2-b0c3-2067402e926d" providerId="ADAL" clId="{A010EAD3-8375-4B86-807A-763FD8608CE6}" dt="2024-01-16T15:08:04.995" v="707" actId="20577"/>
          <ac:spMkLst>
            <pc:docMk/>
            <pc:sldMk cId="796163679" sldId="364"/>
            <ac:spMk id="5" creationId="{56048E33-7D3F-66F4-6DE6-816C613BB948}"/>
          </ac:spMkLst>
        </pc:spChg>
        <pc:spChg chg="mod">
          <ac:chgData name="Schneider, Magnus" userId="e376590a-0cd7-41b2-b0c3-2067402e926d" providerId="ADAL" clId="{A010EAD3-8375-4B86-807A-763FD8608CE6}" dt="2024-01-16T15:08:58.697" v="716" actId="20577"/>
          <ac:spMkLst>
            <pc:docMk/>
            <pc:sldMk cId="796163679" sldId="364"/>
            <ac:spMk id="6" creationId="{0CE073E9-3591-CDD3-6CFA-ED7C28B5F774}"/>
          </ac:spMkLst>
        </pc:spChg>
        <pc:spChg chg="mod">
          <ac:chgData name="Schneider, Magnus" userId="e376590a-0cd7-41b2-b0c3-2067402e926d" providerId="ADAL" clId="{A010EAD3-8375-4B86-807A-763FD8608CE6}" dt="2024-01-16T15:09:20.192" v="758" actId="20577"/>
          <ac:spMkLst>
            <pc:docMk/>
            <pc:sldMk cId="796163679" sldId="364"/>
            <ac:spMk id="7" creationId="{317A34B3-3BF5-AD35-75A3-75018CB51F9A}"/>
          </ac:spMkLst>
        </pc:spChg>
        <pc:spChg chg="mod">
          <ac:chgData name="Schneider, Magnus" userId="e376590a-0cd7-41b2-b0c3-2067402e926d" providerId="ADAL" clId="{A010EAD3-8375-4B86-807A-763FD8608CE6}" dt="2024-01-16T15:09:10.270" v="729" actId="20577"/>
          <ac:spMkLst>
            <pc:docMk/>
            <pc:sldMk cId="796163679" sldId="364"/>
            <ac:spMk id="8" creationId="{62380C36-696B-0647-19FA-FD66F2256E68}"/>
          </ac:spMkLst>
        </pc:spChg>
      </pc:sldChg>
    </pc:docChg>
  </pc:docChgLst>
  <pc:docChgLst>
    <pc:chgData name="Schneider, Magnus" userId="e376590a-0cd7-41b2-b0c3-2067402e926d" providerId="ADAL" clId="{676F7EF6-CADD-4B1E-BFB0-1994E22286B1}"/>
    <pc:docChg chg="undo redo custSel addSld delSld modSld">
      <pc:chgData name="Schneider, Magnus" userId="e376590a-0cd7-41b2-b0c3-2067402e926d" providerId="ADAL" clId="{676F7EF6-CADD-4B1E-BFB0-1994E22286B1}" dt="2023-12-06T11:53:53.519" v="2216" actId="20577"/>
      <pc:docMkLst>
        <pc:docMk/>
      </pc:docMkLst>
      <pc:sldChg chg="modNotesTx">
        <pc:chgData name="Schneider, Magnus" userId="e376590a-0cd7-41b2-b0c3-2067402e926d" providerId="ADAL" clId="{676F7EF6-CADD-4B1E-BFB0-1994E22286B1}" dt="2023-12-05T15:29:08.994" v="1059" actId="20577"/>
        <pc:sldMkLst>
          <pc:docMk/>
          <pc:sldMk cId="2684686047" sldId="346"/>
        </pc:sldMkLst>
      </pc:sldChg>
      <pc:sldChg chg="addSp delSp modSp new mod modShow">
        <pc:chgData name="Schneider, Magnus" userId="e376590a-0cd7-41b2-b0c3-2067402e926d" providerId="ADAL" clId="{676F7EF6-CADD-4B1E-BFB0-1994E22286B1}" dt="2023-12-06T08:05:46.439" v="2166" actId="729"/>
        <pc:sldMkLst>
          <pc:docMk/>
          <pc:sldMk cId="4161753607" sldId="349"/>
        </pc:sldMkLst>
        <pc:spChg chg="mod">
          <ac:chgData name="Schneider, Magnus" userId="e376590a-0cd7-41b2-b0c3-2067402e926d" providerId="ADAL" clId="{676F7EF6-CADD-4B1E-BFB0-1994E22286B1}" dt="2023-12-05T14:48:35.444" v="635"/>
          <ac:spMkLst>
            <pc:docMk/>
            <pc:sldMk cId="4161753607" sldId="349"/>
            <ac:spMk id="5" creationId="{5B39950F-D47F-6B3D-8E9B-AF5C396D9A03}"/>
          </ac:spMkLst>
        </pc:spChg>
        <pc:spChg chg="mod">
          <ac:chgData name="Schneider, Magnus" userId="e376590a-0cd7-41b2-b0c3-2067402e926d" providerId="ADAL" clId="{676F7EF6-CADD-4B1E-BFB0-1994E22286B1}" dt="2023-12-04T17:16:48.113" v="539" actId="20577"/>
          <ac:spMkLst>
            <pc:docMk/>
            <pc:sldMk cId="4161753607" sldId="349"/>
            <ac:spMk id="6" creationId="{063A19EF-7B4D-9C06-6A95-326C674CBBA1}"/>
          </ac:spMkLst>
        </pc:spChg>
        <pc:spChg chg="mod">
          <ac:chgData name="Schneider, Magnus" userId="e376590a-0cd7-41b2-b0c3-2067402e926d" providerId="ADAL" clId="{676F7EF6-CADD-4B1E-BFB0-1994E22286B1}" dt="2023-12-04T16:54:51.100" v="16" actId="20577"/>
          <ac:spMkLst>
            <pc:docMk/>
            <pc:sldMk cId="4161753607" sldId="349"/>
            <ac:spMk id="7" creationId="{3FCB48DA-A170-E65D-AD0C-78D2AD2924D8}"/>
          </ac:spMkLst>
        </pc:spChg>
        <pc:spChg chg="add del">
          <ac:chgData name="Schneider, Magnus" userId="e376590a-0cd7-41b2-b0c3-2067402e926d" providerId="ADAL" clId="{676F7EF6-CADD-4B1E-BFB0-1994E22286B1}" dt="2023-12-04T17:07:17.355" v="42"/>
          <ac:spMkLst>
            <pc:docMk/>
            <pc:sldMk cId="4161753607" sldId="349"/>
            <ac:spMk id="10" creationId="{0E2381BD-0C1D-8A70-B8B3-4CF6AA01D011}"/>
          </ac:spMkLst>
        </pc:spChg>
        <pc:spChg chg="add del">
          <ac:chgData name="Schneider, Magnus" userId="e376590a-0cd7-41b2-b0c3-2067402e926d" providerId="ADAL" clId="{676F7EF6-CADD-4B1E-BFB0-1994E22286B1}" dt="2023-12-04T17:07:19.235" v="44"/>
          <ac:spMkLst>
            <pc:docMk/>
            <pc:sldMk cId="4161753607" sldId="349"/>
            <ac:spMk id="11" creationId="{99B5B88F-99D0-D4B1-7839-30C055C87D0E}"/>
          </ac:spMkLst>
        </pc:spChg>
        <pc:graphicFrameChg chg="add del modGraphic">
          <ac:chgData name="Schneider, Magnus" userId="e376590a-0cd7-41b2-b0c3-2067402e926d" providerId="ADAL" clId="{676F7EF6-CADD-4B1E-BFB0-1994E22286B1}" dt="2023-12-05T14:47:41.449" v="628" actId="1032"/>
          <ac:graphicFrameMkLst>
            <pc:docMk/>
            <pc:sldMk cId="4161753607" sldId="349"/>
            <ac:graphicFrameMk id="10" creationId="{DA99A04A-3044-78DB-B764-009A6F440936}"/>
          </ac:graphicFrameMkLst>
        </pc:graphicFrameChg>
        <pc:graphicFrameChg chg="add del mod modGraphic">
          <ac:chgData name="Schneider, Magnus" userId="e376590a-0cd7-41b2-b0c3-2067402e926d" providerId="ADAL" clId="{676F7EF6-CADD-4B1E-BFB0-1994E22286B1}" dt="2023-12-05T14:48:20.207" v="631" actId="478"/>
          <ac:graphicFrameMkLst>
            <pc:docMk/>
            <pc:sldMk cId="4161753607" sldId="349"/>
            <ac:graphicFrameMk id="11" creationId="{60DF3D25-C4F5-E3C6-C47B-4D258B1E5187}"/>
          </ac:graphicFrameMkLst>
        </pc:graphicFrameChg>
      </pc:sldChg>
      <pc:sldChg chg="addSp delSp modSp new mod">
        <pc:chgData name="Schneider, Magnus" userId="e376590a-0cd7-41b2-b0c3-2067402e926d" providerId="ADAL" clId="{676F7EF6-CADD-4B1E-BFB0-1994E22286B1}" dt="2023-12-06T07:52:37.555" v="1590" actId="1076"/>
        <pc:sldMkLst>
          <pc:docMk/>
          <pc:sldMk cId="373879748" sldId="354"/>
        </pc:sldMkLst>
        <pc:spChg chg="del mod">
          <ac:chgData name="Schneider, Magnus" userId="e376590a-0cd7-41b2-b0c3-2067402e926d" providerId="ADAL" clId="{676F7EF6-CADD-4B1E-BFB0-1994E22286B1}" dt="2023-12-05T14:54:31.306" v="954" actId="478"/>
          <ac:spMkLst>
            <pc:docMk/>
            <pc:sldMk cId="373879748" sldId="354"/>
            <ac:spMk id="5" creationId="{97E7F531-1EF9-8400-3846-3BA2FFBC33B4}"/>
          </ac:spMkLst>
        </pc:spChg>
        <pc:spChg chg="del">
          <ac:chgData name="Schneider, Magnus" userId="e376590a-0cd7-41b2-b0c3-2067402e926d" providerId="ADAL" clId="{676F7EF6-CADD-4B1E-BFB0-1994E22286B1}" dt="2023-12-05T14:54:32.835" v="955" actId="478"/>
          <ac:spMkLst>
            <pc:docMk/>
            <pc:sldMk cId="373879748" sldId="354"/>
            <ac:spMk id="6" creationId="{2ED89170-2CA5-9CD4-97E4-FF2E2D17B82E}"/>
          </ac:spMkLst>
        </pc:spChg>
        <pc:spChg chg="mod">
          <ac:chgData name="Schneider, Magnus" userId="e376590a-0cd7-41b2-b0c3-2067402e926d" providerId="ADAL" clId="{676F7EF6-CADD-4B1E-BFB0-1994E22286B1}" dt="2023-12-05T14:50:27.990" v="667"/>
          <ac:spMkLst>
            <pc:docMk/>
            <pc:sldMk cId="373879748" sldId="354"/>
            <ac:spMk id="7" creationId="{6A00EE08-8AEF-19A2-23C6-E790097C9259}"/>
          </ac:spMkLst>
        </pc:spChg>
        <pc:spChg chg="mod">
          <ac:chgData name="Schneider, Magnus" userId="e376590a-0cd7-41b2-b0c3-2067402e926d" providerId="ADAL" clId="{676F7EF6-CADD-4B1E-BFB0-1994E22286B1}" dt="2023-12-05T14:58:58.028" v="1036" actId="20577"/>
          <ac:spMkLst>
            <pc:docMk/>
            <pc:sldMk cId="373879748" sldId="354"/>
            <ac:spMk id="9" creationId="{56A48833-ACED-1921-F40D-FE5655B5F646}"/>
          </ac:spMkLst>
        </pc:spChg>
        <pc:spChg chg="add mod">
          <ac:chgData name="Schneider, Magnus" userId="e376590a-0cd7-41b2-b0c3-2067402e926d" providerId="ADAL" clId="{676F7EF6-CADD-4B1E-BFB0-1994E22286B1}" dt="2023-12-05T15:01:43.083" v="1044" actId="207"/>
          <ac:spMkLst>
            <pc:docMk/>
            <pc:sldMk cId="373879748" sldId="354"/>
            <ac:spMk id="10" creationId="{5BACE47B-D374-5187-8575-AA16B1DBA4A3}"/>
          </ac:spMkLst>
        </pc:spChg>
        <pc:spChg chg="add mod">
          <ac:chgData name="Schneider, Magnus" userId="e376590a-0cd7-41b2-b0c3-2067402e926d" providerId="ADAL" clId="{676F7EF6-CADD-4B1E-BFB0-1994E22286B1}" dt="2023-12-05T15:01:43.083" v="1044" actId="207"/>
          <ac:spMkLst>
            <pc:docMk/>
            <pc:sldMk cId="373879748" sldId="354"/>
            <ac:spMk id="11" creationId="{BED59217-B855-9F51-F99D-8E197B39A6C8}"/>
          </ac:spMkLst>
        </pc:spChg>
        <pc:spChg chg="add mod">
          <ac:chgData name="Schneider, Magnus" userId="e376590a-0cd7-41b2-b0c3-2067402e926d" providerId="ADAL" clId="{676F7EF6-CADD-4B1E-BFB0-1994E22286B1}" dt="2023-12-05T15:01:43.083" v="1044" actId="207"/>
          <ac:spMkLst>
            <pc:docMk/>
            <pc:sldMk cId="373879748" sldId="354"/>
            <ac:spMk id="12" creationId="{CFF3B0FF-DFA9-B01B-13FB-AA80830AB7D0}"/>
          </ac:spMkLst>
        </pc:spChg>
        <pc:spChg chg="add mod">
          <ac:chgData name="Schneider, Magnus" userId="e376590a-0cd7-41b2-b0c3-2067402e926d" providerId="ADAL" clId="{676F7EF6-CADD-4B1E-BFB0-1994E22286B1}" dt="2023-12-05T15:02:10.843" v="1045" actId="207"/>
          <ac:spMkLst>
            <pc:docMk/>
            <pc:sldMk cId="373879748" sldId="354"/>
            <ac:spMk id="13" creationId="{FB519FDD-7745-5BE4-CFDD-2EA2AE330B84}"/>
          </ac:spMkLst>
        </pc:spChg>
        <pc:spChg chg="add mod">
          <ac:chgData name="Schneider, Magnus" userId="e376590a-0cd7-41b2-b0c3-2067402e926d" providerId="ADAL" clId="{676F7EF6-CADD-4B1E-BFB0-1994E22286B1}" dt="2023-12-05T15:02:10.843" v="1045" actId="207"/>
          <ac:spMkLst>
            <pc:docMk/>
            <pc:sldMk cId="373879748" sldId="354"/>
            <ac:spMk id="14" creationId="{9497DE3D-95EC-1240-7CF4-D690DB0C08D2}"/>
          </ac:spMkLst>
        </pc:spChg>
        <pc:spChg chg="add mod">
          <ac:chgData name="Schneider, Magnus" userId="e376590a-0cd7-41b2-b0c3-2067402e926d" providerId="ADAL" clId="{676F7EF6-CADD-4B1E-BFB0-1994E22286B1}" dt="2023-12-05T15:02:10.843" v="1045" actId="207"/>
          <ac:spMkLst>
            <pc:docMk/>
            <pc:sldMk cId="373879748" sldId="354"/>
            <ac:spMk id="15" creationId="{BACE230E-A1AD-23D1-D179-D63252B028B2}"/>
          </ac:spMkLst>
        </pc:spChg>
        <pc:spChg chg="add del">
          <ac:chgData name="Schneider, Magnus" userId="e376590a-0cd7-41b2-b0c3-2067402e926d" providerId="ADAL" clId="{676F7EF6-CADD-4B1E-BFB0-1994E22286B1}" dt="2023-12-05T14:50:58.968" v="686" actId="22"/>
          <ac:spMkLst>
            <pc:docMk/>
            <pc:sldMk cId="373879748" sldId="354"/>
            <ac:spMk id="19" creationId="{5135485D-8270-A92E-3F59-F943618A6572}"/>
          </ac:spMkLst>
        </pc:spChg>
        <pc:spChg chg="add del">
          <ac:chgData name="Schneider, Magnus" userId="e376590a-0cd7-41b2-b0c3-2067402e926d" providerId="ADAL" clId="{676F7EF6-CADD-4B1E-BFB0-1994E22286B1}" dt="2023-12-05T14:54:03.908" v="947" actId="22"/>
          <ac:spMkLst>
            <pc:docMk/>
            <pc:sldMk cId="373879748" sldId="354"/>
            <ac:spMk id="21" creationId="{2C4B710E-9687-BA66-5294-747F7F6AC505}"/>
          </ac:spMkLst>
        </pc:spChg>
        <pc:spChg chg="add mod">
          <ac:chgData name="Schneider, Magnus" userId="e376590a-0cd7-41b2-b0c3-2067402e926d" providerId="ADAL" clId="{676F7EF6-CADD-4B1E-BFB0-1994E22286B1}" dt="2023-12-05T14:58:35.737" v="999" actId="14100"/>
          <ac:spMkLst>
            <pc:docMk/>
            <pc:sldMk cId="373879748" sldId="354"/>
            <ac:spMk id="26" creationId="{AF33F86E-C82C-B140-4C3F-D664421BB6D0}"/>
          </ac:spMkLst>
        </pc:spChg>
        <pc:grpChg chg="add mod">
          <ac:chgData name="Schneider, Magnus" userId="e376590a-0cd7-41b2-b0c3-2067402e926d" providerId="ADAL" clId="{676F7EF6-CADD-4B1E-BFB0-1994E22286B1}" dt="2023-12-05T14:55:44.683" v="974" actId="1076"/>
          <ac:grpSpMkLst>
            <pc:docMk/>
            <pc:sldMk cId="373879748" sldId="354"/>
            <ac:grpSpMk id="16" creationId="{5548C98A-F5F6-0B85-2F57-42BAD5AB7C79}"/>
          </ac:grpSpMkLst>
        </pc:grpChg>
        <pc:grpChg chg="add mod">
          <ac:chgData name="Schneider, Magnus" userId="e376590a-0cd7-41b2-b0c3-2067402e926d" providerId="ADAL" clId="{676F7EF6-CADD-4B1E-BFB0-1994E22286B1}" dt="2023-12-06T07:52:37.555" v="1590" actId="1076"/>
          <ac:grpSpMkLst>
            <pc:docMk/>
            <pc:sldMk cId="373879748" sldId="354"/>
            <ac:grpSpMk id="17" creationId="{DDDECF32-CA2F-EA9C-4705-F50BA8F60924}"/>
          </ac:grpSpMkLst>
        </pc:grpChg>
        <pc:picChg chg="add mod">
          <ac:chgData name="Schneider, Magnus" userId="e376590a-0cd7-41b2-b0c3-2067402e926d" providerId="ADAL" clId="{676F7EF6-CADD-4B1E-BFB0-1994E22286B1}" dt="2023-12-05T15:00:47.819" v="1041"/>
          <ac:picMkLst>
            <pc:docMk/>
            <pc:sldMk cId="373879748" sldId="354"/>
            <ac:picMk id="23" creationId="{959B9BDD-43E4-2A4A-3B59-DC5DAA59E31C}"/>
          </ac:picMkLst>
        </pc:picChg>
        <pc:picChg chg="add mod">
          <ac:chgData name="Schneider, Magnus" userId="e376590a-0cd7-41b2-b0c3-2067402e926d" providerId="ADAL" clId="{676F7EF6-CADD-4B1E-BFB0-1994E22286B1}" dt="2023-12-05T15:00:39.177" v="1040"/>
          <ac:picMkLst>
            <pc:docMk/>
            <pc:sldMk cId="373879748" sldId="354"/>
            <ac:picMk id="25" creationId="{2CD1019A-16CA-E026-7480-C7A6B515498F}"/>
          </ac:picMkLst>
        </pc:picChg>
      </pc:sldChg>
      <pc:sldChg chg="modSp new del mod">
        <pc:chgData name="Schneider, Magnus" userId="e376590a-0cd7-41b2-b0c3-2067402e926d" providerId="ADAL" clId="{676F7EF6-CADD-4B1E-BFB0-1994E22286B1}" dt="2023-12-05T14:59:23.535" v="1037" actId="2696"/>
        <pc:sldMkLst>
          <pc:docMk/>
          <pc:sldMk cId="885350856" sldId="355"/>
        </pc:sldMkLst>
        <pc:spChg chg="mod">
          <ac:chgData name="Schneider, Magnus" userId="e376590a-0cd7-41b2-b0c3-2067402e926d" providerId="ADAL" clId="{676F7EF6-CADD-4B1E-BFB0-1994E22286B1}" dt="2023-12-05T14:46:26.648" v="624" actId="20577"/>
          <ac:spMkLst>
            <pc:docMk/>
            <pc:sldMk cId="885350856" sldId="355"/>
            <ac:spMk id="7" creationId="{99F87604-73D4-6DF9-8A47-D279DD4E8E21}"/>
          </ac:spMkLst>
        </pc:spChg>
      </pc:sldChg>
      <pc:sldChg chg="addSp delSp modSp new mod">
        <pc:chgData name="Schneider, Magnus" userId="e376590a-0cd7-41b2-b0c3-2067402e926d" providerId="ADAL" clId="{676F7EF6-CADD-4B1E-BFB0-1994E22286B1}" dt="2023-12-06T11:53:01.976" v="2190" actId="20577"/>
        <pc:sldMkLst>
          <pc:docMk/>
          <pc:sldMk cId="2915014058" sldId="355"/>
        </pc:sldMkLst>
        <pc:spChg chg="del">
          <ac:chgData name="Schneider, Magnus" userId="e376590a-0cd7-41b2-b0c3-2067402e926d" providerId="ADAL" clId="{676F7EF6-CADD-4B1E-BFB0-1994E22286B1}" dt="2023-12-05T15:50:01.798" v="1066" actId="478"/>
          <ac:spMkLst>
            <pc:docMk/>
            <pc:sldMk cId="2915014058" sldId="355"/>
            <ac:spMk id="5" creationId="{4A28A817-FA9D-A713-9491-432F9783D189}"/>
          </ac:spMkLst>
        </pc:spChg>
        <pc:spChg chg="mod">
          <ac:chgData name="Schneider, Magnus" userId="e376590a-0cd7-41b2-b0c3-2067402e926d" providerId="ADAL" clId="{676F7EF6-CADD-4B1E-BFB0-1994E22286B1}" dt="2023-12-06T11:52:56.226" v="2187" actId="20577"/>
          <ac:spMkLst>
            <pc:docMk/>
            <pc:sldMk cId="2915014058" sldId="355"/>
            <ac:spMk id="6" creationId="{12A4AB08-AE8E-4C24-3FA4-29904CC5A640}"/>
          </ac:spMkLst>
        </pc:spChg>
        <pc:spChg chg="mod">
          <ac:chgData name="Schneider, Magnus" userId="e376590a-0cd7-41b2-b0c3-2067402e926d" providerId="ADAL" clId="{676F7EF6-CADD-4B1E-BFB0-1994E22286B1}" dt="2023-12-06T11:53:01.976" v="2190" actId="20577"/>
          <ac:spMkLst>
            <pc:docMk/>
            <pc:sldMk cId="2915014058" sldId="355"/>
            <ac:spMk id="8" creationId="{C1CC2AA4-8272-3DAE-7D99-5CAF04891413}"/>
          </ac:spMkLst>
        </pc:spChg>
        <pc:spChg chg="add del mod">
          <ac:chgData name="Schneider, Magnus" userId="e376590a-0cd7-41b2-b0c3-2067402e926d" providerId="ADAL" clId="{676F7EF6-CADD-4B1E-BFB0-1994E22286B1}" dt="2023-12-05T15:52:28.244" v="1161" actId="478"/>
          <ac:spMkLst>
            <pc:docMk/>
            <pc:sldMk cId="2915014058" sldId="355"/>
            <ac:spMk id="11" creationId="{AEBF07E7-C8CB-C344-5CF1-156566473B60}"/>
          </ac:spMkLst>
        </pc:spChg>
        <pc:spChg chg="add del mod">
          <ac:chgData name="Schneider, Magnus" userId="e376590a-0cd7-41b2-b0c3-2067402e926d" providerId="ADAL" clId="{676F7EF6-CADD-4B1E-BFB0-1994E22286B1}" dt="2023-12-05T15:52:30.317" v="1162" actId="478"/>
          <ac:spMkLst>
            <pc:docMk/>
            <pc:sldMk cId="2915014058" sldId="355"/>
            <ac:spMk id="13" creationId="{43D45376-5603-FBFC-A21F-9EB87825EB70}"/>
          </ac:spMkLst>
        </pc:spChg>
        <pc:spChg chg="add del mod">
          <ac:chgData name="Schneider, Magnus" userId="e376590a-0cd7-41b2-b0c3-2067402e926d" providerId="ADAL" clId="{676F7EF6-CADD-4B1E-BFB0-1994E22286B1}" dt="2023-12-05T15:53:44.843" v="1264" actId="478"/>
          <ac:spMkLst>
            <pc:docMk/>
            <pc:sldMk cId="2915014058" sldId="355"/>
            <ac:spMk id="14" creationId="{D248DE6F-21B5-1BED-563B-D5942C026A5D}"/>
          </ac:spMkLst>
        </pc:spChg>
        <pc:picChg chg="add del mod">
          <ac:chgData name="Schneider, Magnus" userId="e376590a-0cd7-41b2-b0c3-2067402e926d" providerId="ADAL" clId="{676F7EF6-CADD-4B1E-BFB0-1994E22286B1}" dt="2023-12-05T15:57:56.949" v="1266" actId="478"/>
          <ac:picMkLst>
            <pc:docMk/>
            <pc:sldMk cId="2915014058" sldId="355"/>
            <ac:picMk id="10" creationId="{E440C814-3594-742D-F847-8661818C503E}"/>
          </ac:picMkLst>
        </pc:picChg>
        <pc:picChg chg="add mod">
          <ac:chgData name="Schneider, Magnus" userId="e376590a-0cd7-41b2-b0c3-2067402e926d" providerId="ADAL" clId="{676F7EF6-CADD-4B1E-BFB0-1994E22286B1}" dt="2023-12-05T15:58:16.235" v="1277" actId="14100"/>
          <ac:picMkLst>
            <pc:docMk/>
            <pc:sldMk cId="2915014058" sldId="355"/>
            <ac:picMk id="16" creationId="{DD037F50-FD31-7839-14DB-2E6FE00165B8}"/>
          </ac:picMkLst>
        </pc:picChg>
      </pc:sldChg>
      <pc:sldChg chg="addSp delSp modSp new mod modNotesTx">
        <pc:chgData name="Schneider, Magnus" userId="e376590a-0cd7-41b2-b0c3-2067402e926d" providerId="ADAL" clId="{676F7EF6-CADD-4B1E-BFB0-1994E22286B1}" dt="2023-12-06T11:53:53.519" v="2216" actId="20577"/>
        <pc:sldMkLst>
          <pc:docMk/>
          <pc:sldMk cId="359739248" sldId="356"/>
        </pc:sldMkLst>
        <pc:spChg chg="mod">
          <ac:chgData name="Schneider, Magnus" userId="e376590a-0cd7-41b2-b0c3-2067402e926d" providerId="ADAL" clId="{676F7EF6-CADD-4B1E-BFB0-1994E22286B1}" dt="2023-12-06T07:46:50.767" v="1587" actId="20577"/>
          <ac:spMkLst>
            <pc:docMk/>
            <pc:sldMk cId="359739248" sldId="356"/>
            <ac:spMk id="5" creationId="{F753F6A6-B085-44F0-A14A-40209F943A85}"/>
          </ac:spMkLst>
        </pc:spChg>
        <pc:spChg chg="mod">
          <ac:chgData name="Schneider, Magnus" userId="e376590a-0cd7-41b2-b0c3-2067402e926d" providerId="ADAL" clId="{676F7EF6-CADD-4B1E-BFB0-1994E22286B1}" dt="2023-12-06T08:05:14.779" v="2165" actId="20577"/>
          <ac:spMkLst>
            <pc:docMk/>
            <pc:sldMk cId="359739248" sldId="356"/>
            <ac:spMk id="6" creationId="{6E61F95F-A1FD-E471-F93A-EFBF85E24036}"/>
          </ac:spMkLst>
        </pc:spChg>
        <pc:spChg chg="mod">
          <ac:chgData name="Schneider, Magnus" userId="e376590a-0cd7-41b2-b0c3-2067402e926d" providerId="ADAL" clId="{676F7EF6-CADD-4B1E-BFB0-1994E22286B1}" dt="2023-12-06T11:52:33.952" v="2186" actId="20577"/>
          <ac:spMkLst>
            <pc:docMk/>
            <pc:sldMk cId="359739248" sldId="356"/>
            <ac:spMk id="7" creationId="{EDB7C83B-4880-6CDF-CF5D-4F503D6E16BB}"/>
          </ac:spMkLst>
        </pc:spChg>
        <pc:spChg chg="mod">
          <ac:chgData name="Schneider, Magnus" userId="e376590a-0cd7-41b2-b0c3-2067402e926d" providerId="ADAL" clId="{676F7EF6-CADD-4B1E-BFB0-1994E22286B1}" dt="2023-12-06T11:53:53.519" v="2216" actId="20577"/>
          <ac:spMkLst>
            <pc:docMk/>
            <pc:sldMk cId="359739248" sldId="356"/>
            <ac:spMk id="9" creationId="{ABE5AB6F-E74C-F094-6B8F-043A6B5CFE58}"/>
          </ac:spMkLst>
        </pc:spChg>
        <pc:spChg chg="add del">
          <ac:chgData name="Schneider, Magnus" userId="e376590a-0cd7-41b2-b0c3-2067402e926d" providerId="ADAL" clId="{676F7EF6-CADD-4B1E-BFB0-1994E22286B1}" dt="2023-12-06T11:52:30.960" v="2176"/>
          <ac:spMkLst>
            <pc:docMk/>
            <pc:sldMk cId="359739248" sldId="356"/>
            <ac:spMk id="10" creationId="{5BDFC963-745D-A09F-0B3D-05930D0D52B9}"/>
          </ac:spMkLst>
        </pc:spChg>
        <pc:spChg chg="add mod">
          <ac:chgData name="Schneider, Magnus" userId="e376590a-0cd7-41b2-b0c3-2067402e926d" providerId="ADAL" clId="{676F7EF6-CADD-4B1E-BFB0-1994E22286B1}" dt="2023-12-06T07:47:08.789" v="1588" actId="164"/>
          <ac:spMkLst>
            <pc:docMk/>
            <pc:sldMk cId="359739248" sldId="356"/>
            <ac:spMk id="20" creationId="{8E3D6D55-CBAC-C46A-62C5-4ED83507DF69}"/>
          </ac:spMkLst>
        </pc:spChg>
        <pc:spChg chg="add mod">
          <ac:chgData name="Schneider, Magnus" userId="e376590a-0cd7-41b2-b0c3-2067402e926d" providerId="ADAL" clId="{676F7EF6-CADD-4B1E-BFB0-1994E22286B1}" dt="2023-12-06T07:47:08.789" v="1588" actId="164"/>
          <ac:spMkLst>
            <pc:docMk/>
            <pc:sldMk cId="359739248" sldId="356"/>
            <ac:spMk id="21" creationId="{8FC30586-A27F-6228-9FED-687BDCD0E604}"/>
          </ac:spMkLst>
        </pc:spChg>
        <pc:spChg chg="add mod">
          <ac:chgData name="Schneider, Magnus" userId="e376590a-0cd7-41b2-b0c3-2067402e926d" providerId="ADAL" clId="{676F7EF6-CADD-4B1E-BFB0-1994E22286B1}" dt="2023-12-06T07:47:08.789" v="1588" actId="164"/>
          <ac:spMkLst>
            <pc:docMk/>
            <pc:sldMk cId="359739248" sldId="356"/>
            <ac:spMk id="22" creationId="{6CC5C456-5C6A-B9E8-B146-16905653E9E8}"/>
          </ac:spMkLst>
        </pc:spChg>
        <pc:spChg chg="add del">
          <ac:chgData name="Schneider, Magnus" userId="e376590a-0cd7-41b2-b0c3-2067402e926d" providerId="ADAL" clId="{676F7EF6-CADD-4B1E-BFB0-1994E22286B1}" dt="2023-12-06T07:52:54.605" v="1592" actId="478"/>
          <ac:spMkLst>
            <pc:docMk/>
            <pc:sldMk cId="359739248" sldId="356"/>
            <ac:spMk id="24" creationId="{3C6C0338-14A5-A002-D3E8-1AA0D7BE74A0}"/>
          </ac:spMkLst>
        </pc:spChg>
        <pc:spChg chg="add mod">
          <ac:chgData name="Schneider, Magnus" userId="e376590a-0cd7-41b2-b0c3-2067402e926d" providerId="ADAL" clId="{676F7EF6-CADD-4B1E-BFB0-1994E22286B1}" dt="2023-12-06T08:04:59.698" v="2158" actId="164"/>
          <ac:spMkLst>
            <pc:docMk/>
            <pc:sldMk cId="359739248" sldId="356"/>
            <ac:spMk id="25" creationId="{AB1B93CC-ACF1-B50F-9B4E-D77AF620CD9F}"/>
          </ac:spMkLst>
        </pc:spChg>
        <pc:spChg chg="add del mod">
          <ac:chgData name="Schneider, Magnus" userId="e376590a-0cd7-41b2-b0c3-2067402e926d" providerId="ADAL" clId="{676F7EF6-CADD-4B1E-BFB0-1994E22286B1}" dt="2023-12-06T07:53:21.106" v="1599" actId="478"/>
          <ac:spMkLst>
            <pc:docMk/>
            <pc:sldMk cId="359739248" sldId="356"/>
            <ac:spMk id="26" creationId="{E7B7643A-D58F-CA1F-3ABD-40600E45835E}"/>
          </ac:spMkLst>
        </pc:spChg>
        <pc:spChg chg="add del mod">
          <ac:chgData name="Schneider, Magnus" userId="e376590a-0cd7-41b2-b0c3-2067402e926d" providerId="ADAL" clId="{676F7EF6-CADD-4B1E-BFB0-1994E22286B1}" dt="2023-12-06T07:59:10.933" v="2086" actId="478"/>
          <ac:spMkLst>
            <pc:docMk/>
            <pc:sldMk cId="359739248" sldId="356"/>
            <ac:spMk id="27" creationId="{E216C064-14CE-DDA3-A74A-D81D64F4E26B}"/>
          </ac:spMkLst>
        </pc:spChg>
        <pc:spChg chg="add del mod">
          <ac:chgData name="Schneider, Magnus" userId="e376590a-0cd7-41b2-b0c3-2067402e926d" providerId="ADAL" clId="{676F7EF6-CADD-4B1E-BFB0-1994E22286B1}" dt="2023-12-06T07:59:09.860" v="2085" actId="478"/>
          <ac:spMkLst>
            <pc:docMk/>
            <pc:sldMk cId="359739248" sldId="356"/>
            <ac:spMk id="28" creationId="{2F228A0F-106A-7893-8FAC-7D7451AEEF28}"/>
          </ac:spMkLst>
        </pc:spChg>
        <pc:spChg chg="add mod">
          <ac:chgData name="Schneider, Magnus" userId="e376590a-0cd7-41b2-b0c3-2067402e926d" providerId="ADAL" clId="{676F7EF6-CADD-4B1E-BFB0-1994E22286B1}" dt="2023-12-06T08:04:59.698" v="2158" actId="164"/>
          <ac:spMkLst>
            <pc:docMk/>
            <pc:sldMk cId="359739248" sldId="356"/>
            <ac:spMk id="29" creationId="{D88C59D7-9E0D-BE5E-F802-D594065D3002}"/>
          </ac:spMkLst>
        </pc:spChg>
        <pc:spChg chg="add mod">
          <ac:chgData name="Schneider, Magnus" userId="e376590a-0cd7-41b2-b0c3-2067402e926d" providerId="ADAL" clId="{676F7EF6-CADD-4B1E-BFB0-1994E22286B1}" dt="2023-12-06T08:04:59.698" v="2158" actId="164"/>
          <ac:spMkLst>
            <pc:docMk/>
            <pc:sldMk cId="359739248" sldId="356"/>
            <ac:spMk id="30" creationId="{AB6A345E-B7EC-F0B0-9010-F1E660002A4F}"/>
          </ac:spMkLst>
        </pc:spChg>
        <pc:spChg chg="add mod">
          <ac:chgData name="Schneider, Magnus" userId="e376590a-0cd7-41b2-b0c3-2067402e926d" providerId="ADAL" clId="{676F7EF6-CADD-4B1E-BFB0-1994E22286B1}" dt="2023-12-06T08:04:59.698" v="2158" actId="164"/>
          <ac:spMkLst>
            <pc:docMk/>
            <pc:sldMk cId="359739248" sldId="356"/>
            <ac:spMk id="31" creationId="{E76BCF5C-F86E-DE43-4FE5-0567379DC2E8}"/>
          </ac:spMkLst>
        </pc:spChg>
        <pc:spChg chg="add mod">
          <ac:chgData name="Schneider, Magnus" userId="e376590a-0cd7-41b2-b0c3-2067402e926d" providerId="ADAL" clId="{676F7EF6-CADD-4B1E-BFB0-1994E22286B1}" dt="2023-12-06T08:04:59.698" v="2158" actId="164"/>
          <ac:spMkLst>
            <pc:docMk/>
            <pc:sldMk cId="359739248" sldId="356"/>
            <ac:spMk id="32" creationId="{1C73C403-28CE-1657-0FB1-A8A4C4D57CDA}"/>
          </ac:spMkLst>
        </pc:spChg>
        <pc:spChg chg="add mod">
          <ac:chgData name="Schneider, Magnus" userId="e376590a-0cd7-41b2-b0c3-2067402e926d" providerId="ADAL" clId="{676F7EF6-CADD-4B1E-BFB0-1994E22286B1}" dt="2023-12-06T08:04:59.698" v="2158" actId="164"/>
          <ac:spMkLst>
            <pc:docMk/>
            <pc:sldMk cId="359739248" sldId="356"/>
            <ac:spMk id="33" creationId="{4147CB2E-1532-E964-BBA2-A6B7D3044C2C}"/>
          </ac:spMkLst>
        </pc:spChg>
        <pc:spChg chg="add mod">
          <ac:chgData name="Schneider, Magnus" userId="e376590a-0cd7-41b2-b0c3-2067402e926d" providerId="ADAL" clId="{676F7EF6-CADD-4B1E-BFB0-1994E22286B1}" dt="2023-12-06T08:04:59.698" v="2158" actId="164"/>
          <ac:spMkLst>
            <pc:docMk/>
            <pc:sldMk cId="359739248" sldId="356"/>
            <ac:spMk id="34" creationId="{3BB82CE9-5EA4-8120-A6BB-FFF51465439C}"/>
          </ac:spMkLst>
        </pc:spChg>
        <pc:grpChg chg="add mod">
          <ac:chgData name="Schneider, Magnus" userId="e376590a-0cd7-41b2-b0c3-2067402e926d" providerId="ADAL" clId="{676F7EF6-CADD-4B1E-BFB0-1994E22286B1}" dt="2023-12-06T07:47:11.983" v="1589" actId="1076"/>
          <ac:grpSpMkLst>
            <pc:docMk/>
            <pc:sldMk cId="359739248" sldId="356"/>
            <ac:grpSpMk id="23" creationId="{C83F4B2E-2239-647E-5A30-105B2251FFDB}"/>
          </ac:grpSpMkLst>
        </pc:grpChg>
        <pc:grpChg chg="add mod">
          <ac:chgData name="Schneider, Magnus" userId="e376590a-0cd7-41b2-b0c3-2067402e926d" providerId="ADAL" clId="{676F7EF6-CADD-4B1E-BFB0-1994E22286B1}" dt="2023-12-06T08:05:10.107" v="2159" actId="1076"/>
          <ac:grpSpMkLst>
            <pc:docMk/>
            <pc:sldMk cId="359739248" sldId="356"/>
            <ac:grpSpMk id="35" creationId="{18212E55-7854-E68C-F6BF-8B6AE9316DA8}"/>
          </ac:grpSpMkLst>
        </pc:grpChg>
        <pc:picChg chg="add mod">
          <ac:chgData name="Schneider, Magnus" userId="e376590a-0cd7-41b2-b0c3-2067402e926d" providerId="ADAL" clId="{676F7EF6-CADD-4B1E-BFB0-1994E22286B1}" dt="2023-12-06T07:47:08.789" v="1588" actId="164"/>
          <ac:picMkLst>
            <pc:docMk/>
            <pc:sldMk cId="359739248" sldId="356"/>
            <ac:picMk id="11" creationId="{57A28818-3D3D-A0AD-2B23-661BA5468643}"/>
          </ac:picMkLst>
        </pc:picChg>
        <pc:picChg chg="add del mod">
          <ac:chgData name="Schneider, Magnus" userId="e376590a-0cd7-41b2-b0c3-2067402e926d" providerId="ADAL" clId="{676F7EF6-CADD-4B1E-BFB0-1994E22286B1}" dt="2023-12-06T07:41:37.233" v="1401" actId="478"/>
          <ac:picMkLst>
            <pc:docMk/>
            <pc:sldMk cId="359739248" sldId="356"/>
            <ac:picMk id="13" creationId="{D0E99D3C-9307-3618-15B6-9E833E69D486}"/>
          </ac:picMkLst>
        </pc:picChg>
        <pc:picChg chg="add mod">
          <ac:chgData name="Schneider, Magnus" userId="e376590a-0cd7-41b2-b0c3-2067402e926d" providerId="ADAL" clId="{676F7EF6-CADD-4B1E-BFB0-1994E22286B1}" dt="2023-12-06T07:47:08.789" v="1588" actId="164"/>
          <ac:picMkLst>
            <pc:docMk/>
            <pc:sldMk cId="359739248" sldId="356"/>
            <ac:picMk id="15" creationId="{51759C87-79C3-5D51-4100-CD2A12CC16CF}"/>
          </ac:picMkLst>
        </pc:picChg>
        <pc:picChg chg="add del mod">
          <ac:chgData name="Schneider, Magnus" userId="e376590a-0cd7-41b2-b0c3-2067402e926d" providerId="ADAL" clId="{676F7EF6-CADD-4B1E-BFB0-1994E22286B1}" dt="2023-12-06T07:44:03.941" v="1408" actId="478"/>
          <ac:picMkLst>
            <pc:docMk/>
            <pc:sldMk cId="359739248" sldId="356"/>
            <ac:picMk id="17" creationId="{2FCEB8FC-67D9-5205-8B36-77166C342998}"/>
          </ac:picMkLst>
        </pc:picChg>
        <pc:picChg chg="add mod">
          <ac:chgData name="Schneider, Magnus" userId="e376590a-0cd7-41b2-b0c3-2067402e926d" providerId="ADAL" clId="{676F7EF6-CADD-4B1E-BFB0-1994E22286B1}" dt="2023-12-06T07:47:08.789" v="1588" actId="164"/>
          <ac:picMkLst>
            <pc:docMk/>
            <pc:sldMk cId="359739248" sldId="356"/>
            <ac:picMk id="19" creationId="{EB6B4505-1728-31A8-6D81-27908DE80858}"/>
          </ac:picMkLst>
        </pc:picChg>
      </pc:sldChg>
      <pc:sldChg chg="modSp add del mod">
        <pc:chgData name="Schneider, Magnus" userId="e376590a-0cd7-41b2-b0c3-2067402e926d" providerId="ADAL" clId="{676F7EF6-CADD-4B1E-BFB0-1994E22286B1}" dt="2023-12-05T14:59:29.510" v="1038" actId="2696"/>
        <pc:sldMkLst>
          <pc:docMk/>
          <pc:sldMk cId="1512108847" sldId="356"/>
        </pc:sldMkLst>
        <pc:spChg chg="mod">
          <ac:chgData name="Schneider, Magnus" userId="e376590a-0cd7-41b2-b0c3-2067402e926d" providerId="ADAL" clId="{676F7EF6-CADD-4B1E-BFB0-1994E22286B1}" dt="2023-12-05T14:48:51.996" v="639" actId="6549"/>
          <ac:spMkLst>
            <pc:docMk/>
            <pc:sldMk cId="1512108847" sldId="356"/>
            <ac:spMk id="5" creationId="{5B39950F-D47F-6B3D-8E9B-AF5C396D9A03}"/>
          </ac:spMkLst>
        </pc:spChg>
      </pc:sldChg>
    </pc:docChg>
  </pc:docChgLst>
  <pc:docChgLst>
    <pc:chgData name="Fourati, Omar" userId="S::oz48ohuv@fauad.fau.de::543b926d-baf3-4e4d-861e-19746c37446c" providerId="AD" clId="Web-{7D11E485-269B-A1DB-146A-2F2C223B390B}"/>
    <pc:docChg chg="modSld">
      <pc:chgData name="Fourati, Omar" userId="S::oz48ohuv@fauad.fau.de::543b926d-baf3-4e4d-861e-19746c37446c" providerId="AD" clId="Web-{7D11E485-269B-A1DB-146A-2F2C223B390B}" dt="2024-01-16T17:17:40.986" v="261" actId="1076"/>
      <pc:docMkLst>
        <pc:docMk/>
      </pc:docMkLst>
      <pc:sldChg chg="addSp delSp modSp">
        <pc:chgData name="Fourati, Omar" userId="S::oz48ohuv@fauad.fau.de::543b926d-baf3-4e4d-861e-19746c37446c" providerId="AD" clId="Web-{7D11E485-269B-A1DB-146A-2F2C223B390B}" dt="2024-01-16T17:17:40.986" v="261" actId="1076"/>
        <pc:sldMkLst>
          <pc:docMk/>
          <pc:sldMk cId="796163679" sldId="364"/>
        </pc:sldMkLst>
        <pc:spChg chg="mod">
          <ac:chgData name="Fourati, Omar" userId="S::oz48ohuv@fauad.fau.de::543b926d-baf3-4e4d-861e-19746c37446c" providerId="AD" clId="Web-{7D11E485-269B-A1DB-146A-2F2C223B390B}" dt="2024-01-16T17:01:18.693" v="109" actId="20577"/>
          <ac:spMkLst>
            <pc:docMk/>
            <pc:sldMk cId="796163679" sldId="364"/>
            <ac:spMk id="6" creationId="{0CE073E9-3591-CDD3-6CFA-ED7C28B5F774}"/>
          </ac:spMkLst>
        </pc:spChg>
        <pc:spChg chg="mod">
          <ac:chgData name="Fourati, Omar" userId="S::oz48ohuv@fauad.fau.de::543b926d-baf3-4e4d-861e-19746c37446c" providerId="AD" clId="Web-{7D11E485-269B-A1DB-146A-2F2C223B390B}" dt="2024-01-16T17:11:15.757" v="226" actId="20577"/>
          <ac:spMkLst>
            <pc:docMk/>
            <pc:sldMk cId="796163679" sldId="364"/>
            <ac:spMk id="7" creationId="{317A34B3-3BF5-AD35-75A3-75018CB51F9A}"/>
          </ac:spMkLst>
        </pc:spChg>
        <pc:spChg chg="mod">
          <ac:chgData name="Fourati, Omar" userId="S::oz48ohuv@fauad.fau.de::543b926d-baf3-4e4d-861e-19746c37446c" providerId="AD" clId="Web-{7D11E485-269B-A1DB-146A-2F2C223B390B}" dt="2024-01-16T17:11:27.241" v="229" actId="1076"/>
          <ac:spMkLst>
            <pc:docMk/>
            <pc:sldMk cId="796163679" sldId="364"/>
            <ac:spMk id="8" creationId="{62380C36-696B-0647-19FA-FD66F2256E68}"/>
          </ac:spMkLst>
        </pc:spChg>
        <pc:spChg chg="del">
          <ac:chgData name="Fourati, Omar" userId="S::oz48ohuv@fauad.fau.de::543b926d-baf3-4e4d-861e-19746c37446c" providerId="AD" clId="Web-{7D11E485-269B-A1DB-146A-2F2C223B390B}" dt="2024-01-16T16:54:08.338" v="0"/>
          <ac:spMkLst>
            <pc:docMk/>
            <pc:sldMk cId="796163679" sldId="364"/>
            <ac:spMk id="9" creationId="{AF270C0D-D8E2-A998-AA28-C434F92774D9}"/>
          </ac:spMkLst>
        </pc:spChg>
        <pc:spChg chg="add del mod">
          <ac:chgData name="Fourati, Omar" userId="S::oz48ohuv@fauad.fau.de::543b926d-baf3-4e4d-861e-19746c37446c" providerId="AD" clId="Web-{7D11E485-269B-A1DB-146A-2F2C223B390B}" dt="2024-01-16T17:11:53.851" v="230"/>
          <ac:spMkLst>
            <pc:docMk/>
            <pc:sldMk cId="796163679" sldId="364"/>
            <ac:spMk id="14" creationId="{30E9ADBB-B24A-1453-06C6-26C3C5C97689}"/>
          </ac:spMkLst>
        </pc:spChg>
        <pc:spChg chg="add del mod">
          <ac:chgData name="Fourati, Omar" userId="S::oz48ohuv@fauad.fau.de::543b926d-baf3-4e4d-861e-19746c37446c" providerId="AD" clId="Web-{7D11E485-269B-A1DB-146A-2F2C223B390B}" dt="2024-01-16T17:12:00.680" v="232"/>
          <ac:spMkLst>
            <pc:docMk/>
            <pc:sldMk cId="796163679" sldId="364"/>
            <ac:spMk id="17" creationId="{C4CEC962-9DF9-E15A-A641-AB1F1BA67147}"/>
          </ac:spMkLst>
        </pc:spChg>
        <pc:spChg chg="add del mod">
          <ac:chgData name="Fourati, Omar" userId="S::oz48ohuv@fauad.fau.de::543b926d-baf3-4e4d-861e-19746c37446c" providerId="AD" clId="Web-{7D11E485-269B-A1DB-146A-2F2C223B390B}" dt="2024-01-16T17:12:17.992" v="234"/>
          <ac:spMkLst>
            <pc:docMk/>
            <pc:sldMk cId="796163679" sldId="364"/>
            <ac:spMk id="20" creationId="{3E750B2C-4E8B-C505-4693-6F00236F2926}"/>
          </ac:spMkLst>
        </pc:spChg>
        <pc:spChg chg="add del mod">
          <ac:chgData name="Fourati, Omar" userId="S::oz48ohuv@fauad.fau.de::543b926d-baf3-4e4d-861e-19746c37446c" providerId="AD" clId="Web-{7D11E485-269B-A1DB-146A-2F2C223B390B}" dt="2024-01-16T17:12:43.587" v="238"/>
          <ac:spMkLst>
            <pc:docMk/>
            <pc:sldMk cId="796163679" sldId="364"/>
            <ac:spMk id="23" creationId="{59AB386A-2590-4FE3-20EE-4522A199456F}"/>
          </ac:spMkLst>
        </pc:spChg>
        <pc:spChg chg="add del mod">
          <ac:chgData name="Fourati, Omar" userId="S::oz48ohuv@fauad.fau.de::543b926d-baf3-4e4d-861e-19746c37446c" providerId="AD" clId="Web-{7D11E485-269B-A1DB-146A-2F2C223B390B}" dt="2024-01-16T17:12:47.696" v="240"/>
          <ac:spMkLst>
            <pc:docMk/>
            <pc:sldMk cId="796163679" sldId="364"/>
            <ac:spMk id="26" creationId="{63AE9B06-311E-6AF8-17A7-0B2E21321401}"/>
          </ac:spMkLst>
        </pc:spChg>
        <pc:picChg chg="add del mod ord">
          <ac:chgData name="Fourati, Omar" userId="S::oz48ohuv@fauad.fau.de::543b926d-baf3-4e4d-861e-19746c37446c" providerId="AD" clId="Web-{7D11E485-269B-A1DB-146A-2F2C223B390B}" dt="2024-01-16T16:54:25.041" v="5"/>
          <ac:picMkLst>
            <pc:docMk/>
            <pc:sldMk cId="796163679" sldId="364"/>
            <ac:picMk id="11" creationId="{D785C821-CD63-F784-C172-D1AC7030B266}"/>
          </ac:picMkLst>
        </pc:picChg>
        <pc:picChg chg="add mod">
          <ac:chgData name="Fourati, Omar" userId="S::oz48ohuv@fauad.fau.de::543b926d-baf3-4e4d-861e-19746c37446c" providerId="AD" clId="Web-{7D11E485-269B-A1DB-146A-2F2C223B390B}" dt="2024-01-16T16:55:23.793" v="16"/>
          <ac:picMkLst>
            <pc:docMk/>
            <pc:sldMk cId="796163679" sldId="364"/>
            <ac:picMk id="12" creationId="{9ADBB2B6-9A64-EA9B-C86E-10FE03868378}"/>
          </ac:picMkLst>
        </pc:picChg>
        <pc:picChg chg="add del mod ord">
          <ac:chgData name="Fourati, Omar" userId="S::oz48ohuv@fauad.fau.de::543b926d-baf3-4e4d-861e-19746c37446c" providerId="AD" clId="Web-{7D11E485-269B-A1DB-146A-2F2C223B390B}" dt="2024-01-16T17:11:58.179" v="231"/>
          <ac:picMkLst>
            <pc:docMk/>
            <pc:sldMk cId="796163679" sldId="364"/>
            <ac:picMk id="15" creationId="{FD56273E-6898-3D19-A56B-7F4F24C5A81F}"/>
          </ac:picMkLst>
        </pc:picChg>
        <pc:picChg chg="add del mod ord">
          <ac:chgData name="Fourati, Omar" userId="S::oz48ohuv@fauad.fau.de::543b926d-baf3-4e4d-861e-19746c37446c" providerId="AD" clId="Web-{7D11E485-269B-A1DB-146A-2F2C223B390B}" dt="2024-01-16T17:12:03.101" v="233"/>
          <ac:picMkLst>
            <pc:docMk/>
            <pc:sldMk cId="796163679" sldId="364"/>
            <ac:picMk id="18" creationId="{CA5B4966-FA69-AC35-AD7B-83F4941A2CB8}"/>
          </ac:picMkLst>
        </pc:picChg>
        <pc:picChg chg="add del mod ord">
          <ac:chgData name="Fourati, Omar" userId="S::oz48ohuv@fauad.fau.de::543b926d-baf3-4e4d-861e-19746c37446c" providerId="AD" clId="Web-{7D11E485-269B-A1DB-146A-2F2C223B390B}" dt="2024-01-16T17:12:26.227" v="237"/>
          <ac:picMkLst>
            <pc:docMk/>
            <pc:sldMk cId="796163679" sldId="364"/>
            <ac:picMk id="21" creationId="{94896753-206E-2A7D-1A84-2C1980865579}"/>
          </ac:picMkLst>
        </pc:picChg>
        <pc:picChg chg="add del mod ord">
          <ac:chgData name="Fourati, Omar" userId="S::oz48ohuv@fauad.fau.de::543b926d-baf3-4e4d-861e-19746c37446c" providerId="AD" clId="Web-{7D11E485-269B-A1DB-146A-2F2C223B390B}" dt="2024-01-16T17:12:46.509" v="239"/>
          <ac:picMkLst>
            <pc:docMk/>
            <pc:sldMk cId="796163679" sldId="364"/>
            <ac:picMk id="24" creationId="{7DABBFF1-7836-72FD-847C-0B2000DC5CEF}"/>
          </ac:picMkLst>
        </pc:picChg>
        <pc:picChg chg="add del mod">
          <ac:chgData name="Fourati, Omar" userId="S::oz48ohuv@fauad.fau.de::543b926d-baf3-4e4d-861e-19746c37446c" providerId="AD" clId="Web-{7D11E485-269B-A1DB-146A-2F2C223B390B}" dt="2024-01-16T17:12:52.118" v="242"/>
          <ac:picMkLst>
            <pc:docMk/>
            <pc:sldMk cId="796163679" sldId="364"/>
            <ac:picMk id="27" creationId="{9C4BAF8F-B34C-1685-AF0F-B40A0E850407}"/>
          </ac:picMkLst>
        </pc:picChg>
        <pc:picChg chg="add mod">
          <ac:chgData name="Fourati, Omar" userId="S::oz48ohuv@fauad.fau.de::543b926d-baf3-4e4d-861e-19746c37446c" providerId="AD" clId="Web-{7D11E485-269B-A1DB-146A-2F2C223B390B}" dt="2024-01-16T17:13:55.401" v="254" actId="1076"/>
          <ac:picMkLst>
            <pc:docMk/>
            <pc:sldMk cId="796163679" sldId="364"/>
            <ac:picMk id="28" creationId="{0B7ACCDF-C2F0-27F1-9292-A97EB3D42266}"/>
          </ac:picMkLst>
        </pc:picChg>
        <pc:picChg chg="add mod">
          <ac:chgData name="Fourati, Omar" userId="S::oz48ohuv@fauad.fau.de::543b926d-baf3-4e4d-861e-19746c37446c" providerId="AD" clId="Web-{7D11E485-269B-A1DB-146A-2F2C223B390B}" dt="2024-01-16T17:17:40.986" v="261" actId="1076"/>
          <ac:picMkLst>
            <pc:docMk/>
            <pc:sldMk cId="796163679" sldId="364"/>
            <ac:picMk id="29" creationId="{EEFD19F7-F9FB-C115-4E37-4DAEC7C96502}"/>
          </ac:picMkLst>
        </pc:picChg>
      </pc:sldChg>
    </pc:docChg>
  </pc:docChgLst>
  <pc:docChgLst>
    <pc:chgData name="Fourati, Omar" userId="S::oz48ohuv@fauad.fau.de::543b926d-baf3-4e4d-861e-19746c37446c" providerId="AD" clId="Web-{B9653D50-7082-4F47-AD98-690345E71C5B}"/>
    <pc:docChg chg="addSld modSld">
      <pc:chgData name="Fourati, Omar" userId="S::oz48ohuv@fauad.fau.de::543b926d-baf3-4e4d-861e-19746c37446c" providerId="AD" clId="Web-{B9653D50-7082-4F47-AD98-690345E71C5B}" dt="2023-12-05T12:51:22.315" v="2"/>
      <pc:docMkLst>
        <pc:docMk/>
      </pc:docMkLst>
      <pc:sldChg chg="modSp">
        <pc:chgData name="Fourati, Omar" userId="S::oz48ohuv@fauad.fau.de::543b926d-baf3-4e4d-861e-19746c37446c" providerId="AD" clId="Web-{B9653D50-7082-4F47-AD98-690345E71C5B}" dt="2023-12-05T12:51:14.393" v="1" actId="1076"/>
        <pc:sldMkLst>
          <pc:docMk/>
          <pc:sldMk cId="1217021714" sldId="348"/>
        </pc:sldMkLst>
        <pc:spChg chg="mod">
          <ac:chgData name="Fourati, Omar" userId="S::oz48ohuv@fauad.fau.de::543b926d-baf3-4e4d-861e-19746c37446c" providerId="AD" clId="Web-{B9653D50-7082-4F47-AD98-690345E71C5B}" dt="2023-12-05T12:51:12.986" v="0" actId="1076"/>
          <ac:spMkLst>
            <pc:docMk/>
            <pc:sldMk cId="1217021714" sldId="348"/>
            <ac:spMk id="23" creationId="{4BC5BF79-3455-C794-EEFB-1E5C69703B08}"/>
          </ac:spMkLst>
        </pc:spChg>
        <pc:picChg chg="mod">
          <ac:chgData name="Fourati, Omar" userId="S::oz48ohuv@fauad.fau.de::543b926d-baf3-4e4d-861e-19746c37446c" providerId="AD" clId="Web-{B9653D50-7082-4F47-AD98-690345E71C5B}" dt="2023-12-05T12:51:14.393" v="1" actId="1076"/>
          <ac:picMkLst>
            <pc:docMk/>
            <pc:sldMk cId="1217021714" sldId="348"/>
            <ac:picMk id="20" creationId="{4CA501E4-7AD3-9AD5-2135-A68A64BEB149}"/>
          </ac:picMkLst>
        </pc:picChg>
      </pc:sldChg>
      <pc:sldChg chg="new">
        <pc:chgData name="Fourati, Omar" userId="S::oz48ohuv@fauad.fau.de::543b926d-baf3-4e4d-861e-19746c37446c" providerId="AD" clId="Web-{B9653D50-7082-4F47-AD98-690345E71C5B}" dt="2023-12-05T12:51:22.315" v="2"/>
        <pc:sldMkLst>
          <pc:docMk/>
          <pc:sldMk cId="3115778502" sldId="351"/>
        </pc:sldMkLst>
      </pc:sldChg>
    </pc:docChg>
  </pc:docChgLst>
  <pc:docChgLst>
    <pc:chgData name="Schneider, Magnus" userId="e376590a-0cd7-41b2-b0c3-2067402e926d" providerId="ADAL" clId="{9C66300D-B9E5-4635-975C-19C696C9CF78}"/>
    <pc:docChg chg="undo redo custSel addSld delSld modSld sldOrd">
      <pc:chgData name="Schneider, Magnus" userId="e376590a-0cd7-41b2-b0c3-2067402e926d" providerId="ADAL" clId="{9C66300D-B9E5-4635-975C-19C696C9CF78}" dt="2024-02-09T08:55:11.926" v="8460" actId="20577"/>
      <pc:docMkLst>
        <pc:docMk/>
      </pc:docMkLst>
      <pc:sldChg chg="addSp delSp modSp add del mod ord">
        <pc:chgData name="Schneider, Magnus" userId="e376590a-0cd7-41b2-b0c3-2067402e926d" providerId="ADAL" clId="{9C66300D-B9E5-4635-975C-19C696C9CF78}" dt="2024-02-08T10:33:42.397" v="6007"/>
        <pc:sldMkLst>
          <pc:docMk/>
          <pc:sldMk cId="2684686047" sldId="346"/>
        </pc:sldMkLst>
        <pc:spChg chg="add mod">
          <ac:chgData name="Schneider, Magnus" userId="e376590a-0cd7-41b2-b0c3-2067402e926d" providerId="ADAL" clId="{9C66300D-B9E5-4635-975C-19C696C9CF78}" dt="2024-02-08T10:33:42.397" v="6007"/>
          <ac:spMkLst>
            <pc:docMk/>
            <pc:sldMk cId="2684686047" sldId="346"/>
            <ac:spMk id="7" creationId="{E6886542-AE46-1682-CBBB-CEC6C99C42F3}"/>
          </ac:spMkLst>
        </pc:spChg>
        <pc:spChg chg="del">
          <ac:chgData name="Schneider, Magnus" userId="e376590a-0cd7-41b2-b0c3-2067402e926d" providerId="ADAL" clId="{9C66300D-B9E5-4635-975C-19C696C9CF78}" dt="2024-02-08T10:33:41.309" v="6006" actId="478"/>
          <ac:spMkLst>
            <pc:docMk/>
            <pc:sldMk cId="2684686047" sldId="346"/>
            <ac:spMk id="25" creationId="{582EB9A3-A3A0-E35C-D6BB-92EBC9FE822A}"/>
          </ac:spMkLst>
        </pc:spChg>
      </pc:sldChg>
      <pc:sldChg chg="addSp delSp modSp mod ord">
        <pc:chgData name="Schneider, Magnus" userId="e376590a-0cd7-41b2-b0c3-2067402e926d" providerId="ADAL" clId="{9C66300D-B9E5-4635-975C-19C696C9CF78}" dt="2024-02-08T10:33:12.036" v="5999"/>
        <pc:sldMkLst>
          <pc:docMk/>
          <pc:sldMk cId="3420730971" sldId="347"/>
        </pc:sldMkLst>
        <pc:spChg chg="del mod">
          <ac:chgData name="Schneider, Magnus" userId="e376590a-0cd7-41b2-b0c3-2067402e926d" providerId="ADAL" clId="{9C66300D-B9E5-4635-975C-19C696C9CF78}" dt="2024-02-08T10:33:10.763" v="5998" actId="478"/>
          <ac:spMkLst>
            <pc:docMk/>
            <pc:sldMk cId="3420730971" sldId="347"/>
            <ac:spMk id="2" creationId="{E783DCD0-5EBA-FDA0-3C85-771616BA6C0B}"/>
          </ac:spMkLst>
        </pc:spChg>
        <pc:spChg chg="add mod">
          <ac:chgData name="Schneider, Magnus" userId="e376590a-0cd7-41b2-b0c3-2067402e926d" providerId="ADAL" clId="{9C66300D-B9E5-4635-975C-19C696C9CF78}" dt="2024-02-08T10:33:12.036" v="5999"/>
          <ac:spMkLst>
            <pc:docMk/>
            <pc:sldMk cId="3420730971" sldId="347"/>
            <ac:spMk id="5" creationId="{97EE5372-CD5C-4298-EE52-61768E47D2D2}"/>
          </ac:spMkLst>
        </pc:spChg>
      </pc:sldChg>
      <pc:sldChg chg="del">
        <pc:chgData name="Schneider, Magnus" userId="e376590a-0cd7-41b2-b0c3-2067402e926d" providerId="ADAL" clId="{9C66300D-B9E5-4635-975C-19C696C9CF78}" dt="2024-02-07T09:12:20.277" v="4150" actId="47"/>
        <pc:sldMkLst>
          <pc:docMk/>
          <pc:sldMk cId="1217021714" sldId="348"/>
        </pc:sldMkLst>
      </pc:sldChg>
      <pc:sldChg chg="ord">
        <pc:chgData name="Schneider, Magnus" userId="e376590a-0cd7-41b2-b0c3-2067402e926d" providerId="ADAL" clId="{9C66300D-B9E5-4635-975C-19C696C9CF78}" dt="2024-02-07T09:18:43.427" v="4169"/>
        <pc:sldMkLst>
          <pc:docMk/>
          <pc:sldMk cId="310617772" sldId="357"/>
        </pc:sldMkLst>
      </pc:sldChg>
      <pc:sldChg chg="del">
        <pc:chgData name="Schneider, Magnus" userId="e376590a-0cd7-41b2-b0c3-2067402e926d" providerId="ADAL" clId="{9C66300D-B9E5-4635-975C-19C696C9CF78}" dt="2024-02-07T09:12:22.604" v="4151" actId="47"/>
        <pc:sldMkLst>
          <pc:docMk/>
          <pc:sldMk cId="218260472" sldId="358"/>
        </pc:sldMkLst>
      </pc:sldChg>
      <pc:sldChg chg="del">
        <pc:chgData name="Schneider, Magnus" userId="e376590a-0cd7-41b2-b0c3-2067402e926d" providerId="ADAL" clId="{9C66300D-B9E5-4635-975C-19C696C9CF78}" dt="2024-02-07T09:12:24.417" v="4152" actId="47"/>
        <pc:sldMkLst>
          <pc:docMk/>
          <pc:sldMk cId="1255631191" sldId="359"/>
        </pc:sldMkLst>
      </pc:sldChg>
      <pc:sldChg chg="del">
        <pc:chgData name="Schneider, Magnus" userId="e376590a-0cd7-41b2-b0c3-2067402e926d" providerId="ADAL" clId="{9C66300D-B9E5-4635-975C-19C696C9CF78}" dt="2024-02-07T09:12:35.121" v="4153" actId="47"/>
        <pc:sldMkLst>
          <pc:docMk/>
          <pc:sldMk cId="2360349951" sldId="360"/>
        </pc:sldMkLst>
      </pc:sldChg>
      <pc:sldChg chg="addSp delSp modSp mod">
        <pc:chgData name="Schneider, Magnus" userId="e376590a-0cd7-41b2-b0c3-2067402e926d" providerId="ADAL" clId="{9C66300D-B9E5-4635-975C-19C696C9CF78}" dt="2024-02-08T10:55:38.503" v="6388" actId="255"/>
        <pc:sldMkLst>
          <pc:docMk/>
          <pc:sldMk cId="3863385461" sldId="361"/>
        </pc:sldMkLst>
        <pc:spChg chg="del">
          <ac:chgData name="Schneider, Magnus" userId="e376590a-0cd7-41b2-b0c3-2067402e926d" providerId="ADAL" clId="{9C66300D-B9E5-4635-975C-19C696C9CF78}" dt="2024-02-08T10:32:36.761" v="5992" actId="478"/>
          <ac:spMkLst>
            <pc:docMk/>
            <pc:sldMk cId="3863385461" sldId="361"/>
            <ac:spMk id="2" creationId="{7B14A8A6-A81E-8CF9-0902-E2709E3E05DD}"/>
          </ac:spMkLst>
        </pc:spChg>
        <pc:spChg chg="add mod">
          <ac:chgData name="Schneider, Magnus" userId="e376590a-0cd7-41b2-b0c3-2067402e926d" providerId="ADAL" clId="{9C66300D-B9E5-4635-975C-19C696C9CF78}" dt="2024-02-08T10:32:37.611" v="5993"/>
          <ac:spMkLst>
            <pc:docMk/>
            <pc:sldMk cId="3863385461" sldId="361"/>
            <ac:spMk id="5" creationId="{013C4558-A400-4A3C-F80B-2A843FAF7255}"/>
          </ac:spMkLst>
        </pc:spChg>
        <pc:spChg chg="mod">
          <ac:chgData name="Schneider, Magnus" userId="e376590a-0cd7-41b2-b0c3-2067402e926d" providerId="ADAL" clId="{9C66300D-B9E5-4635-975C-19C696C9CF78}" dt="2024-02-08T10:55:38.503" v="6388" actId="255"/>
          <ac:spMkLst>
            <pc:docMk/>
            <pc:sldMk cId="3863385461" sldId="361"/>
            <ac:spMk id="10" creationId="{A91DE2F0-A8E9-7889-987A-E201C48FEFFA}"/>
          </ac:spMkLst>
        </pc:spChg>
      </pc:sldChg>
      <pc:sldChg chg="addSp delSp modSp mod">
        <pc:chgData name="Schneider, Magnus" userId="e376590a-0cd7-41b2-b0c3-2067402e926d" providerId="ADAL" clId="{9C66300D-B9E5-4635-975C-19C696C9CF78}" dt="2024-02-08T10:55:50.313" v="6389" actId="255"/>
        <pc:sldMkLst>
          <pc:docMk/>
          <pc:sldMk cId="1994662312" sldId="363"/>
        </pc:sldMkLst>
        <pc:spChg chg="del mod">
          <ac:chgData name="Schneider, Magnus" userId="e376590a-0cd7-41b2-b0c3-2067402e926d" providerId="ADAL" clId="{9C66300D-B9E5-4635-975C-19C696C9CF78}" dt="2024-02-08T10:32:44.393" v="5995" actId="478"/>
          <ac:spMkLst>
            <pc:docMk/>
            <pc:sldMk cId="1994662312" sldId="363"/>
            <ac:spMk id="2" creationId="{7B14A8A6-A81E-8CF9-0902-E2709E3E05DD}"/>
          </ac:spMkLst>
        </pc:spChg>
        <pc:spChg chg="add mod">
          <ac:chgData name="Schneider, Magnus" userId="e376590a-0cd7-41b2-b0c3-2067402e926d" providerId="ADAL" clId="{9C66300D-B9E5-4635-975C-19C696C9CF78}" dt="2024-02-08T10:32:44.840" v="5996"/>
          <ac:spMkLst>
            <pc:docMk/>
            <pc:sldMk cId="1994662312" sldId="363"/>
            <ac:spMk id="5" creationId="{A0C1C5B8-49DC-4E3D-BC92-49DE8B550CA3}"/>
          </ac:spMkLst>
        </pc:spChg>
        <pc:spChg chg="mod">
          <ac:chgData name="Schneider, Magnus" userId="e376590a-0cd7-41b2-b0c3-2067402e926d" providerId="ADAL" clId="{9C66300D-B9E5-4635-975C-19C696C9CF78}" dt="2024-02-08T10:55:50.313" v="6389" actId="255"/>
          <ac:spMkLst>
            <pc:docMk/>
            <pc:sldMk cId="1994662312" sldId="363"/>
            <ac:spMk id="10" creationId="{A91DE2F0-A8E9-7889-987A-E201C48FEFFA}"/>
          </ac:spMkLst>
        </pc:spChg>
      </pc:sldChg>
      <pc:sldChg chg="add del">
        <pc:chgData name="Schneider, Magnus" userId="e376590a-0cd7-41b2-b0c3-2067402e926d" providerId="ADAL" clId="{9C66300D-B9E5-4635-975C-19C696C9CF78}" dt="2024-02-07T09:12:46.338" v="4155" actId="47"/>
        <pc:sldMkLst>
          <pc:docMk/>
          <pc:sldMk cId="796163679" sldId="364"/>
        </pc:sldMkLst>
      </pc:sldChg>
      <pc:sldChg chg="addSp delSp modSp mod">
        <pc:chgData name="Schneider, Magnus" userId="e376590a-0cd7-41b2-b0c3-2067402e926d" providerId="ADAL" clId="{9C66300D-B9E5-4635-975C-19C696C9CF78}" dt="2024-02-08T10:39:39.299" v="6190" actId="313"/>
        <pc:sldMkLst>
          <pc:docMk/>
          <pc:sldMk cId="482519800" sldId="365"/>
        </pc:sldMkLst>
        <pc:spChg chg="mod">
          <ac:chgData name="Schneider, Magnus" userId="e376590a-0cd7-41b2-b0c3-2067402e926d" providerId="ADAL" clId="{9C66300D-B9E5-4635-975C-19C696C9CF78}" dt="2024-02-08T10:39:39.299" v="6190" actId="313"/>
          <ac:spMkLst>
            <pc:docMk/>
            <pc:sldMk cId="482519800" sldId="365"/>
            <ac:spMk id="5" creationId="{2DD64BF6-ED49-C683-1FAD-F1139BEDF1A2}"/>
          </ac:spMkLst>
        </pc:spChg>
        <pc:spChg chg="del">
          <ac:chgData name="Schneider, Magnus" userId="e376590a-0cd7-41b2-b0c3-2067402e926d" providerId="ADAL" clId="{9C66300D-B9E5-4635-975C-19C696C9CF78}" dt="2024-02-08T10:33:46.321" v="6008" actId="478"/>
          <ac:spMkLst>
            <pc:docMk/>
            <pc:sldMk cId="482519800" sldId="365"/>
            <ac:spMk id="7" creationId="{21BB0A07-8C9D-EA7D-4FE6-DAFD95BDE463}"/>
          </ac:spMkLst>
        </pc:spChg>
        <pc:spChg chg="add mod">
          <ac:chgData name="Schneider, Magnus" userId="e376590a-0cd7-41b2-b0c3-2067402e926d" providerId="ADAL" clId="{9C66300D-B9E5-4635-975C-19C696C9CF78}" dt="2024-02-08T10:33:47.765" v="6009"/>
          <ac:spMkLst>
            <pc:docMk/>
            <pc:sldMk cId="482519800" sldId="365"/>
            <ac:spMk id="10" creationId="{F12C3A56-9FA7-0FDF-7D7D-ECBCFF516BCB}"/>
          </ac:spMkLst>
        </pc:spChg>
      </pc:sldChg>
      <pc:sldChg chg="ord">
        <pc:chgData name="Schneider, Magnus" userId="e376590a-0cd7-41b2-b0c3-2067402e926d" providerId="ADAL" clId="{9C66300D-B9E5-4635-975C-19C696C9CF78}" dt="2024-02-07T09:18:43.427" v="4169"/>
        <pc:sldMkLst>
          <pc:docMk/>
          <pc:sldMk cId="3623923869" sldId="366"/>
        </pc:sldMkLst>
      </pc:sldChg>
      <pc:sldChg chg="addSp delSp modSp mod">
        <pc:chgData name="Schneider, Magnus" userId="e376590a-0cd7-41b2-b0c3-2067402e926d" providerId="ADAL" clId="{9C66300D-B9E5-4635-975C-19C696C9CF78}" dt="2024-02-08T10:38:37.749" v="6158" actId="20577"/>
        <pc:sldMkLst>
          <pc:docMk/>
          <pc:sldMk cId="3195248987" sldId="367"/>
        </pc:sldMkLst>
        <pc:spChg chg="del">
          <ac:chgData name="Schneider, Magnus" userId="e376590a-0cd7-41b2-b0c3-2067402e926d" providerId="ADAL" clId="{9C66300D-B9E5-4635-975C-19C696C9CF78}" dt="2024-02-08T10:33:57.643" v="6012" actId="478"/>
          <ac:spMkLst>
            <pc:docMk/>
            <pc:sldMk cId="3195248987" sldId="367"/>
            <ac:spMk id="2" creationId="{9AA417C1-8846-3BB4-0F55-088D0EC2012F}"/>
          </ac:spMkLst>
        </pc:spChg>
        <pc:spChg chg="mod">
          <ac:chgData name="Schneider, Magnus" userId="e376590a-0cd7-41b2-b0c3-2067402e926d" providerId="ADAL" clId="{9C66300D-B9E5-4635-975C-19C696C9CF78}" dt="2024-02-08T10:38:05.588" v="6111" actId="20577"/>
          <ac:spMkLst>
            <pc:docMk/>
            <pc:sldMk cId="3195248987" sldId="367"/>
            <ac:spMk id="5" creationId="{9B41795F-E715-6613-5BAE-EB8F5F2DCEFB}"/>
          </ac:spMkLst>
        </pc:spChg>
        <pc:spChg chg="mod">
          <ac:chgData name="Schneider, Magnus" userId="e376590a-0cd7-41b2-b0c3-2067402e926d" providerId="ADAL" clId="{9C66300D-B9E5-4635-975C-19C696C9CF78}" dt="2024-02-08T10:38:37.749" v="6158" actId="20577"/>
          <ac:spMkLst>
            <pc:docMk/>
            <pc:sldMk cId="3195248987" sldId="367"/>
            <ac:spMk id="7" creationId="{6AC55FFE-0CB9-0867-33E0-8F17F2A8179B}"/>
          </ac:spMkLst>
        </pc:spChg>
        <pc:spChg chg="mod">
          <ac:chgData name="Schneider, Magnus" userId="e376590a-0cd7-41b2-b0c3-2067402e926d" providerId="ADAL" clId="{9C66300D-B9E5-4635-975C-19C696C9CF78}" dt="2024-02-08T10:38:27.988" v="6156" actId="20577"/>
          <ac:spMkLst>
            <pc:docMk/>
            <pc:sldMk cId="3195248987" sldId="367"/>
            <ac:spMk id="9" creationId="{37DF9F15-632E-F0D1-1D78-4D2F68AF2659}"/>
          </ac:spMkLst>
        </pc:spChg>
        <pc:spChg chg="mod">
          <ac:chgData name="Schneider, Magnus" userId="e376590a-0cd7-41b2-b0c3-2067402e926d" providerId="ADAL" clId="{9C66300D-B9E5-4635-975C-19C696C9CF78}" dt="2024-02-08T10:38:00.229" v="6091" actId="20577"/>
          <ac:spMkLst>
            <pc:docMk/>
            <pc:sldMk cId="3195248987" sldId="367"/>
            <ac:spMk id="29" creationId="{005BC0A4-6FFC-904A-0B73-A27FBA6CB9D1}"/>
          </ac:spMkLst>
        </pc:spChg>
        <pc:spChg chg="add mod">
          <ac:chgData name="Schneider, Magnus" userId="e376590a-0cd7-41b2-b0c3-2067402e926d" providerId="ADAL" clId="{9C66300D-B9E5-4635-975C-19C696C9CF78}" dt="2024-02-08T10:33:58.666" v="6013"/>
          <ac:spMkLst>
            <pc:docMk/>
            <pc:sldMk cId="3195248987" sldId="367"/>
            <ac:spMk id="32" creationId="{B6F7D1B7-B02E-51FB-EC47-22607931E8CB}"/>
          </ac:spMkLst>
        </pc:spChg>
      </pc:sldChg>
      <pc:sldChg chg="add del">
        <pc:chgData name="Schneider, Magnus" userId="e376590a-0cd7-41b2-b0c3-2067402e926d" providerId="ADAL" clId="{9C66300D-B9E5-4635-975C-19C696C9CF78}" dt="2024-02-07T09:12:42.109" v="4154" actId="47"/>
        <pc:sldMkLst>
          <pc:docMk/>
          <pc:sldMk cId="2746257347" sldId="368"/>
        </pc:sldMkLst>
      </pc:sldChg>
      <pc:sldChg chg="addSp delSp modSp mod">
        <pc:chgData name="Schneider, Magnus" userId="e376590a-0cd7-41b2-b0c3-2067402e926d" providerId="ADAL" clId="{9C66300D-B9E5-4635-975C-19C696C9CF78}" dt="2024-02-08T10:33:53.273" v="6011"/>
        <pc:sldMkLst>
          <pc:docMk/>
          <pc:sldMk cId="2122025321" sldId="369"/>
        </pc:sldMkLst>
        <pc:spChg chg="del">
          <ac:chgData name="Schneider, Magnus" userId="e376590a-0cd7-41b2-b0c3-2067402e926d" providerId="ADAL" clId="{9C66300D-B9E5-4635-975C-19C696C9CF78}" dt="2024-02-08T10:33:52.224" v="6010" actId="478"/>
          <ac:spMkLst>
            <pc:docMk/>
            <pc:sldMk cId="2122025321" sldId="369"/>
            <ac:spMk id="5" creationId="{CEE4B6B9-17B2-DCDA-63B4-63CA5DC790A0}"/>
          </ac:spMkLst>
        </pc:spChg>
        <pc:spChg chg="mod">
          <ac:chgData name="Schneider, Magnus" userId="e376590a-0cd7-41b2-b0c3-2067402e926d" providerId="ADAL" clId="{9C66300D-B9E5-4635-975C-19C696C9CF78}" dt="2024-02-08T10:31:35.589" v="5968"/>
          <ac:spMkLst>
            <pc:docMk/>
            <pc:sldMk cId="2122025321" sldId="369"/>
            <ac:spMk id="6" creationId="{E72D25D9-3CC3-2DAF-FAC8-02BBC484BA69}"/>
          </ac:spMkLst>
        </pc:spChg>
        <pc:spChg chg="add mod">
          <ac:chgData name="Schneider, Magnus" userId="e376590a-0cd7-41b2-b0c3-2067402e926d" providerId="ADAL" clId="{9C66300D-B9E5-4635-975C-19C696C9CF78}" dt="2024-02-08T10:33:53.273" v="6011"/>
          <ac:spMkLst>
            <pc:docMk/>
            <pc:sldMk cId="2122025321" sldId="369"/>
            <ac:spMk id="7" creationId="{1EAB2257-5083-1085-B09C-835564C9E2FA}"/>
          </ac:spMkLst>
        </pc:spChg>
        <pc:spChg chg="mod">
          <ac:chgData name="Schneider, Magnus" userId="e376590a-0cd7-41b2-b0c3-2067402e926d" providerId="ADAL" clId="{9C66300D-B9E5-4635-975C-19C696C9CF78}" dt="2024-02-08T10:31:40.901" v="5982" actId="20577"/>
          <ac:spMkLst>
            <pc:docMk/>
            <pc:sldMk cId="2122025321" sldId="369"/>
            <ac:spMk id="9" creationId="{1C8FBB84-F183-A109-02AB-62C68BF25A76}"/>
          </ac:spMkLst>
        </pc:spChg>
      </pc:sldChg>
      <pc:sldChg chg="addSp delSp modSp new mod ord modNotesTx">
        <pc:chgData name="Schneider, Magnus" userId="e376590a-0cd7-41b2-b0c3-2067402e926d" providerId="ADAL" clId="{9C66300D-B9E5-4635-975C-19C696C9CF78}" dt="2024-02-08T10:36:54.925" v="6074" actId="20577"/>
        <pc:sldMkLst>
          <pc:docMk/>
          <pc:sldMk cId="2229614898" sldId="370"/>
        </pc:sldMkLst>
        <pc:spChg chg="del">
          <ac:chgData name="Schneider, Magnus" userId="e376590a-0cd7-41b2-b0c3-2067402e926d" providerId="ADAL" clId="{9C66300D-B9E5-4635-975C-19C696C9CF78}" dt="2024-02-08T10:32:26.619" v="5987" actId="478"/>
          <ac:spMkLst>
            <pc:docMk/>
            <pc:sldMk cId="2229614898" sldId="370"/>
            <ac:spMk id="2" creationId="{D7BFEE66-31F1-0D4A-5790-97E13611561B}"/>
          </ac:spMkLst>
        </pc:spChg>
        <pc:spChg chg="del mod">
          <ac:chgData name="Schneider, Magnus" userId="e376590a-0cd7-41b2-b0c3-2067402e926d" providerId="ADAL" clId="{9C66300D-B9E5-4635-975C-19C696C9CF78}" dt="2024-02-06T12:48:22.672" v="16" actId="478"/>
          <ac:spMkLst>
            <pc:docMk/>
            <pc:sldMk cId="2229614898" sldId="370"/>
            <ac:spMk id="5" creationId="{6BA171BF-5E10-F972-B138-509BBF1D881F}"/>
          </ac:spMkLst>
        </pc:spChg>
        <pc:spChg chg="add mod">
          <ac:chgData name="Schneider, Magnus" userId="e376590a-0cd7-41b2-b0c3-2067402e926d" providerId="ADAL" clId="{9C66300D-B9E5-4635-975C-19C696C9CF78}" dt="2024-02-08T10:32:27.038" v="5988"/>
          <ac:spMkLst>
            <pc:docMk/>
            <pc:sldMk cId="2229614898" sldId="370"/>
            <ac:spMk id="5" creationId="{ABA2A0CC-EC8D-8EB6-4739-96D3576A6B63}"/>
          </ac:spMkLst>
        </pc:spChg>
        <pc:spChg chg="mod">
          <ac:chgData name="Schneider, Magnus" userId="e376590a-0cd7-41b2-b0c3-2067402e926d" providerId="ADAL" clId="{9C66300D-B9E5-4635-975C-19C696C9CF78}" dt="2024-02-06T12:44:17.139" v="13" actId="20577"/>
          <ac:spMkLst>
            <pc:docMk/>
            <pc:sldMk cId="2229614898" sldId="370"/>
            <ac:spMk id="6" creationId="{D9F6CB96-14FA-2397-5FBB-680AFE48762F}"/>
          </ac:spMkLst>
        </pc:spChg>
        <pc:spChg chg="add mod">
          <ac:chgData name="Schneider, Magnus" userId="e376590a-0cd7-41b2-b0c3-2067402e926d" providerId="ADAL" clId="{9C66300D-B9E5-4635-975C-19C696C9CF78}" dt="2024-02-08T10:36:47.662" v="6068" actId="20577"/>
          <ac:spMkLst>
            <pc:docMk/>
            <pc:sldMk cId="2229614898" sldId="370"/>
            <ac:spMk id="13" creationId="{3346FFA5-9EB3-987C-09D5-5D4E5300A283}"/>
          </ac:spMkLst>
        </pc:spChg>
        <pc:spChg chg="add mod">
          <ac:chgData name="Schneider, Magnus" userId="e376590a-0cd7-41b2-b0c3-2067402e926d" providerId="ADAL" clId="{9C66300D-B9E5-4635-975C-19C696C9CF78}" dt="2024-02-08T10:36:52.545" v="6072" actId="20577"/>
          <ac:spMkLst>
            <pc:docMk/>
            <pc:sldMk cId="2229614898" sldId="370"/>
            <ac:spMk id="16" creationId="{C4D2B0D6-69CF-C643-7ABC-F705418198B8}"/>
          </ac:spMkLst>
        </pc:spChg>
        <pc:spChg chg="add mod">
          <ac:chgData name="Schneider, Magnus" userId="e376590a-0cd7-41b2-b0c3-2067402e926d" providerId="ADAL" clId="{9C66300D-B9E5-4635-975C-19C696C9CF78}" dt="2024-02-08T10:36:54.925" v="6074" actId="20577"/>
          <ac:spMkLst>
            <pc:docMk/>
            <pc:sldMk cId="2229614898" sldId="370"/>
            <ac:spMk id="19" creationId="{3C76D11F-C30D-AA51-1960-FCE9FCABE07A}"/>
          </ac:spMkLst>
        </pc:spChg>
        <pc:spChg chg="add del mod">
          <ac:chgData name="Schneider, Magnus" userId="e376590a-0cd7-41b2-b0c3-2067402e926d" providerId="ADAL" clId="{9C66300D-B9E5-4635-975C-19C696C9CF78}" dt="2024-02-06T12:59:27.701" v="519" actId="478"/>
          <ac:spMkLst>
            <pc:docMk/>
            <pc:sldMk cId="2229614898" sldId="370"/>
            <ac:spMk id="20" creationId="{19D770B2-4760-BC34-5824-6A86B8DFC9E9}"/>
          </ac:spMkLst>
        </pc:spChg>
        <pc:spChg chg="add mod">
          <ac:chgData name="Schneider, Magnus" userId="e376590a-0cd7-41b2-b0c3-2067402e926d" providerId="ADAL" clId="{9C66300D-B9E5-4635-975C-19C696C9CF78}" dt="2024-02-06T14:18:52.545" v="1788" actId="20577"/>
          <ac:spMkLst>
            <pc:docMk/>
            <pc:sldMk cId="2229614898" sldId="370"/>
            <ac:spMk id="22" creationId="{119C687F-7862-F67C-D374-8167EACBA2FD}"/>
          </ac:spMkLst>
        </pc:spChg>
        <pc:picChg chg="add del mod">
          <ac:chgData name="Schneider, Magnus" userId="e376590a-0cd7-41b2-b0c3-2067402e926d" providerId="ADAL" clId="{9C66300D-B9E5-4635-975C-19C696C9CF78}" dt="2024-02-06T12:54:46.314" v="356" actId="478"/>
          <ac:picMkLst>
            <pc:docMk/>
            <pc:sldMk cId="2229614898" sldId="370"/>
            <ac:picMk id="10" creationId="{D33AE2C6-787B-6332-5D48-D8593743AE09}"/>
          </ac:picMkLst>
        </pc:picChg>
        <pc:picChg chg="add mod">
          <ac:chgData name="Schneider, Magnus" userId="e376590a-0cd7-41b2-b0c3-2067402e926d" providerId="ADAL" clId="{9C66300D-B9E5-4635-975C-19C696C9CF78}" dt="2024-02-06T14:11:48.105" v="1633" actId="1076"/>
          <ac:picMkLst>
            <pc:docMk/>
            <pc:sldMk cId="2229614898" sldId="370"/>
            <ac:picMk id="12" creationId="{A9BFD2F2-ACA4-3ADF-7A57-EC842241AF6C}"/>
          </ac:picMkLst>
        </pc:picChg>
        <pc:picChg chg="add mod">
          <ac:chgData name="Schneider, Magnus" userId="e376590a-0cd7-41b2-b0c3-2067402e926d" providerId="ADAL" clId="{9C66300D-B9E5-4635-975C-19C696C9CF78}" dt="2024-02-06T14:11:45.225" v="1632" actId="1076"/>
          <ac:picMkLst>
            <pc:docMk/>
            <pc:sldMk cId="2229614898" sldId="370"/>
            <ac:picMk id="15" creationId="{7FC6BB23-CDEF-AEAC-FCDB-73B8A5C10F2D}"/>
          </ac:picMkLst>
        </pc:picChg>
        <pc:picChg chg="add mod">
          <ac:chgData name="Schneider, Magnus" userId="e376590a-0cd7-41b2-b0c3-2067402e926d" providerId="ADAL" clId="{9C66300D-B9E5-4635-975C-19C696C9CF78}" dt="2024-02-06T14:11:42.355" v="1631" actId="1076"/>
          <ac:picMkLst>
            <pc:docMk/>
            <pc:sldMk cId="2229614898" sldId="370"/>
            <ac:picMk id="18" creationId="{2F53E676-6F2C-FC2C-BCB3-298DECF09D39}"/>
          </ac:picMkLst>
        </pc:picChg>
        <pc:picChg chg="add mod">
          <ac:chgData name="Schneider, Magnus" userId="e376590a-0cd7-41b2-b0c3-2067402e926d" providerId="ADAL" clId="{9C66300D-B9E5-4635-975C-19C696C9CF78}" dt="2024-02-06T14:11:38.302" v="1630" actId="1076"/>
          <ac:picMkLst>
            <pc:docMk/>
            <pc:sldMk cId="2229614898" sldId="370"/>
            <ac:picMk id="21" creationId="{06CE9058-A4EC-2E7A-3EDB-6328889DD752}"/>
          </ac:picMkLst>
        </pc:picChg>
      </pc:sldChg>
      <pc:sldChg chg="addSp delSp modSp add mod ord modNotesTx">
        <pc:chgData name="Schneider, Magnus" userId="e376590a-0cd7-41b2-b0c3-2067402e926d" providerId="ADAL" clId="{9C66300D-B9E5-4635-975C-19C696C9CF78}" dt="2024-02-08T10:37:09.028" v="6080" actId="20577"/>
        <pc:sldMkLst>
          <pc:docMk/>
          <pc:sldMk cId="1462217075" sldId="371"/>
        </pc:sldMkLst>
        <pc:spChg chg="del mod">
          <ac:chgData name="Schneider, Magnus" userId="e376590a-0cd7-41b2-b0c3-2067402e926d" providerId="ADAL" clId="{9C66300D-B9E5-4635-975C-19C696C9CF78}" dt="2024-02-08T10:32:33.521" v="5991" actId="478"/>
          <ac:spMkLst>
            <pc:docMk/>
            <pc:sldMk cId="1462217075" sldId="371"/>
            <ac:spMk id="2" creationId="{3965DEF1-8A28-8592-5079-06F04A1CC996}"/>
          </ac:spMkLst>
        </pc:spChg>
        <pc:spChg chg="add mod">
          <ac:chgData name="Schneider, Magnus" userId="e376590a-0cd7-41b2-b0c3-2067402e926d" providerId="ADAL" clId="{9C66300D-B9E5-4635-975C-19C696C9CF78}" dt="2024-02-08T10:32:30.764" v="5990"/>
          <ac:spMkLst>
            <pc:docMk/>
            <pc:sldMk cId="1462217075" sldId="371"/>
            <ac:spMk id="5" creationId="{77468CEF-76BE-CBA4-B1C6-FFDE79E624B4}"/>
          </ac:spMkLst>
        </pc:spChg>
        <pc:spChg chg="mod">
          <ac:chgData name="Schneider, Magnus" userId="e376590a-0cd7-41b2-b0c3-2067402e926d" providerId="ADAL" clId="{9C66300D-B9E5-4635-975C-19C696C9CF78}" dt="2024-02-06T13:00:17.281" v="559" actId="20577"/>
          <ac:spMkLst>
            <pc:docMk/>
            <pc:sldMk cId="1462217075" sldId="371"/>
            <ac:spMk id="6" creationId="{27A06B9F-608B-4EA3-FFA2-E47FA402B8A4}"/>
          </ac:spMkLst>
        </pc:spChg>
        <pc:spChg chg="add mod">
          <ac:chgData name="Schneider, Magnus" userId="e376590a-0cd7-41b2-b0c3-2067402e926d" providerId="ADAL" clId="{9C66300D-B9E5-4635-975C-19C696C9CF78}" dt="2024-02-08T10:37:09.028" v="6080" actId="20577"/>
          <ac:spMkLst>
            <pc:docMk/>
            <pc:sldMk cId="1462217075" sldId="371"/>
            <ac:spMk id="10" creationId="{F36C25D6-6298-B3FD-66D9-AD091C8643E3}"/>
          </ac:spMkLst>
        </pc:spChg>
        <pc:spChg chg="add del mod">
          <ac:chgData name="Schneider, Magnus" userId="e376590a-0cd7-41b2-b0c3-2067402e926d" providerId="ADAL" clId="{9C66300D-B9E5-4635-975C-19C696C9CF78}" dt="2024-02-06T13:25:50.600" v="661" actId="478"/>
          <ac:spMkLst>
            <pc:docMk/>
            <pc:sldMk cId="1462217075" sldId="371"/>
            <ac:spMk id="13" creationId="{BFE7B2C6-D783-7FBD-08DE-2A4F85E0F6C9}"/>
          </ac:spMkLst>
        </pc:spChg>
        <pc:spChg chg="mod">
          <ac:chgData name="Schneider, Magnus" userId="e376590a-0cd7-41b2-b0c3-2067402e926d" providerId="ADAL" clId="{9C66300D-B9E5-4635-975C-19C696C9CF78}" dt="2024-02-06T14:31:14.469" v="2448" actId="20577"/>
          <ac:spMkLst>
            <pc:docMk/>
            <pc:sldMk cId="1462217075" sldId="371"/>
            <ac:spMk id="16" creationId="{DFE321E2-2F27-140A-F06D-B02C601CB6C6}"/>
          </ac:spMkLst>
        </pc:spChg>
        <pc:spChg chg="add del">
          <ac:chgData name="Schneider, Magnus" userId="e376590a-0cd7-41b2-b0c3-2067402e926d" providerId="ADAL" clId="{9C66300D-B9E5-4635-975C-19C696C9CF78}" dt="2024-02-06T13:25:54.276" v="663" actId="478"/>
          <ac:spMkLst>
            <pc:docMk/>
            <pc:sldMk cId="1462217075" sldId="371"/>
            <ac:spMk id="19" creationId="{B765659C-1BBC-BD43-2CFF-2D02C872FCD0}"/>
          </ac:spMkLst>
        </pc:spChg>
        <pc:spChg chg="add del mod">
          <ac:chgData name="Schneider, Magnus" userId="e376590a-0cd7-41b2-b0c3-2067402e926d" providerId="ADAL" clId="{9C66300D-B9E5-4635-975C-19C696C9CF78}" dt="2024-02-08T10:37:01.875" v="6078" actId="20577"/>
          <ac:spMkLst>
            <pc:docMk/>
            <pc:sldMk cId="1462217075" sldId="371"/>
            <ac:spMk id="22" creationId="{FD0FA5F9-CB4C-2143-56DF-AC2BEDB08DDF}"/>
          </ac:spMkLst>
        </pc:spChg>
        <pc:picChg chg="add mod">
          <ac:chgData name="Schneider, Magnus" userId="e376590a-0cd7-41b2-b0c3-2067402e926d" providerId="ADAL" clId="{9C66300D-B9E5-4635-975C-19C696C9CF78}" dt="2024-02-06T14:24:53.486" v="1995" actId="1076"/>
          <ac:picMkLst>
            <pc:docMk/>
            <pc:sldMk cId="1462217075" sldId="371"/>
            <ac:picMk id="9" creationId="{87B70080-E8CF-1648-A5A6-2DC844F5DC8D}"/>
          </ac:picMkLst>
        </pc:picChg>
        <pc:picChg chg="del">
          <ac:chgData name="Schneider, Magnus" userId="e376590a-0cd7-41b2-b0c3-2067402e926d" providerId="ADAL" clId="{9C66300D-B9E5-4635-975C-19C696C9CF78}" dt="2024-02-06T13:25:31.989" v="649" actId="478"/>
          <ac:picMkLst>
            <pc:docMk/>
            <pc:sldMk cId="1462217075" sldId="371"/>
            <ac:picMk id="12" creationId="{38F722C2-BF80-1F4F-F296-530847FD5669}"/>
          </ac:picMkLst>
        </pc:picChg>
        <pc:picChg chg="mod">
          <ac:chgData name="Schneider, Magnus" userId="e376590a-0cd7-41b2-b0c3-2067402e926d" providerId="ADAL" clId="{9C66300D-B9E5-4635-975C-19C696C9CF78}" dt="2024-02-06T14:25:00.888" v="1996" actId="1076"/>
          <ac:picMkLst>
            <pc:docMk/>
            <pc:sldMk cId="1462217075" sldId="371"/>
            <ac:picMk id="15" creationId="{C86332AA-B4F8-B6B0-25AD-50109EF1CA97}"/>
          </ac:picMkLst>
        </pc:picChg>
        <pc:picChg chg="add del">
          <ac:chgData name="Schneider, Magnus" userId="e376590a-0cd7-41b2-b0c3-2067402e926d" providerId="ADAL" clId="{9C66300D-B9E5-4635-975C-19C696C9CF78}" dt="2024-02-06T13:25:52.435" v="662" actId="478"/>
          <ac:picMkLst>
            <pc:docMk/>
            <pc:sldMk cId="1462217075" sldId="371"/>
            <ac:picMk id="18" creationId="{7FC5C08D-D3BC-7C1F-AEB1-8B57321D1BAB}"/>
          </ac:picMkLst>
        </pc:picChg>
        <pc:picChg chg="add del mod">
          <ac:chgData name="Schneider, Magnus" userId="e376590a-0cd7-41b2-b0c3-2067402e926d" providerId="ADAL" clId="{9C66300D-B9E5-4635-975C-19C696C9CF78}" dt="2024-02-06T14:25:14.641" v="1998" actId="1076"/>
          <ac:picMkLst>
            <pc:docMk/>
            <pc:sldMk cId="1462217075" sldId="371"/>
            <ac:picMk id="21" creationId="{C4851D03-FD0F-BDEC-09F6-217EB30A57B6}"/>
          </ac:picMkLst>
        </pc:picChg>
      </pc:sldChg>
      <pc:sldChg chg="modNotesTx">
        <pc:chgData name="Schneider, Magnus" userId="e376590a-0cd7-41b2-b0c3-2067402e926d" providerId="ADAL" clId="{9C66300D-B9E5-4635-975C-19C696C9CF78}" dt="2024-02-08T10:46:01.823" v="6264" actId="20577"/>
        <pc:sldMkLst>
          <pc:docMk/>
          <pc:sldMk cId="3887009211" sldId="375"/>
        </pc:sldMkLst>
      </pc:sldChg>
      <pc:sldChg chg="modNotesTx">
        <pc:chgData name="Schneider, Magnus" userId="e376590a-0cd7-41b2-b0c3-2067402e926d" providerId="ADAL" clId="{9C66300D-B9E5-4635-975C-19C696C9CF78}" dt="2024-02-08T10:46:03.310" v="6265" actId="20577"/>
        <pc:sldMkLst>
          <pc:docMk/>
          <pc:sldMk cId="932072143" sldId="376"/>
        </pc:sldMkLst>
      </pc:sldChg>
      <pc:sldChg chg="add del">
        <pc:chgData name="Schneider, Magnus" userId="e376590a-0cd7-41b2-b0c3-2067402e926d" providerId="ADAL" clId="{9C66300D-B9E5-4635-975C-19C696C9CF78}" dt="2024-02-06T13:40:04.046" v="1381" actId="47"/>
        <pc:sldMkLst>
          <pc:docMk/>
          <pc:sldMk cId="2260848026" sldId="377"/>
        </pc:sldMkLst>
      </pc:sldChg>
      <pc:sldChg chg="add del">
        <pc:chgData name="Schneider, Magnus" userId="e376590a-0cd7-41b2-b0c3-2067402e926d" providerId="ADAL" clId="{9C66300D-B9E5-4635-975C-19C696C9CF78}" dt="2024-02-06T13:39:59.889" v="1380" actId="47"/>
        <pc:sldMkLst>
          <pc:docMk/>
          <pc:sldMk cId="1469212923" sldId="378"/>
        </pc:sldMkLst>
      </pc:sldChg>
      <pc:sldChg chg="addSp delSp modSp add mod ord modNotesTx">
        <pc:chgData name="Schneider, Magnus" userId="e376590a-0cd7-41b2-b0c3-2067402e926d" providerId="ADAL" clId="{9C66300D-B9E5-4635-975C-19C696C9CF78}" dt="2024-02-08T10:54:33.673" v="6381" actId="20577"/>
        <pc:sldMkLst>
          <pc:docMk/>
          <pc:sldMk cId="1459322966" sldId="379"/>
        </pc:sldMkLst>
        <pc:spChg chg="add del mod">
          <ac:chgData name="Schneider, Magnus" userId="e376590a-0cd7-41b2-b0c3-2067402e926d" providerId="ADAL" clId="{9C66300D-B9E5-4635-975C-19C696C9CF78}" dt="2024-02-08T10:52:45.255" v="6325"/>
          <ac:spMkLst>
            <pc:docMk/>
            <pc:sldMk cId="1459322966" sldId="379"/>
            <ac:spMk id="5" creationId="{4B6F7067-F09F-3C11-4AA4-7CC57FF9A998}"/>
          </ac:spMkLst>
        </pc:spChg>
        <pc:spChg chg="mod">
          <ac:chgData name="Schneider, Magnus" userId="e376590a-0cd7-41b2-b0c3-2067402e926d" providerId="ADAL" clId="{9C66300D-B9E5-4635-975C-19C696C9CF78}" dt="2024-02-08T10:27:29.879" v="5891" actId="20577"/>
          <ac:spMkLst>
            <pc:docMk/>
            <pc:sldMk cId="1459322966" sldId="379"/>
            <ac:spMk id="6" creationId="{3FD5BF10-2804-1E84-7A0F-EC62D5623376}"/>
          </ac:spMkLst>
        </pc:spChg>
        <pc:spChg chg="add del">
          <ac:chgData name="Schneider, Magnus" userId="e376590a-0cd7-41b2-b0c3-2067402e926d" providerId="ADAL" clId="{9C66300D-B9E5-4635-975C-19C696C9CF78}" dt="2024-02-06T14:42:12.110" v="2609" actId="22"/>
          <ac:spMkLst>
            <pc:docMk/>
            <pc:sldMk cId="1459322966" sldId="379"/>
            <ac:spMk id="7" creationId="{B31FBB04-2BD4-9872-00B1-154EF7D06358}"/>
          </ac:spMkLst>
        </pc:spChg>
        <pc:spChg chg="add del mod">
          <ac:chgData name="Schneider, Magnus" userId="e376590a-0cd7-41b2-b0c3-2067402e926d" providerId="ADAL" clId="{9C66300D-B9E5-4635-975C-19C696C9CF78}" dt="2024-02-08T10:53:22.553" v="6331"/>
          <ac:spMkLst>
            <pc:docMk/>
            <pc:sldMk cId="1459322966" sldId="379"/>
            <ac:spMk id="7" creationId="{D3E02C3D-5B71-F06B-D41D-1BDEA14435C6}"/>
          </ac:spMkLst>
        </pc:spChg>
        <pc:spChg chg="mod">
          <ac:chgData name="Schneider, Magnus" userId="e376590a-0cd7-41b2-b0c3-2067402e926d" providerId="ADAL" clId="{9C66300D-B9E5-4635-975C-19C696C9CF78}" dt="2024-02-08T10:26:59.740" v="5833"/>
          <ac:spMkLst>
            <pc:docMk/>
            <pc:sldMk cId="1459322966" sldId="379"/>
            <ac:spMk id="9" creationId="{494BA471-6E8D-766E-69FD-31B45257DC83}"/>
          </ac:spMkLst>
        </pc:spChg>
        <pc:spChg chg="add mod">
          <ac:chgData name="Schneider, Magnus" userId="e376590a-0cd7-41b2-b0c3-2067402e926d" providerId="ADAL" clId="{9C66300D-B9E5-4635-975C-19C696C9CF78}" dt="2024-02-08T10:54:33.673" v="6381" actId="20577"/>
          <ac:spMkLst>
            <pc:docMk/>
            <pc:sldMk cId="1459322966" sldId="379"/>
            <ac:spMk id="10" creationId="{E170EE4F-ECEE-95D8-CF86-A0DD00F86E7A}"/>
          </ac:spMkLst>
        </pc:spChg>
        <pc:spChg chg="mod">
          <ac:chgData name="Schneider, Magnus" userId="e376590a-0cd7-41b2-b0c3-2067402e926d" providerId="ADAL" clId="{9C66300D-B9E5-4635-975C-19C696C9CF78}" dt="2024-02-08T10:34:28.188" v="6017" actId="20577"/>
          <ac:spMkLst>
            <pc:docMk/>
            <pc:sldMk cId="1459322966" sldId="379"/>
            <ac:spMk id="12" creationId="{8CB8FA3B-1C66-E13F-BE71-77E277380AFA}"/>
          </ac:spMkLst>
        </pc:spChg>
        <pc:spChg chg="mod">
          <ac:chgData name="Schneider, Magnus" userId="e376590a-0cd7-41b2-b0c3-2067402e926d" providerId="ADAL" clId="{9C66300D-B9E5-4635-975C-19C696C9CF78}" dt="2024-02-08T10:34:35.811" v="6021" actId="20577"/>
          <ac:spMkLst>
            <pc:docMk/>
            <pc:sldMk cId="1459322966" sldId="379"/>
            <ac:spMk id="13" creationId="{9B6E9BC7-DB72-A455-655B-06DC7D81532A}"/>
          </ac:spMkLst>
        </pc:spChg>
        <pc:spChg chg="mod">
          <ac:chgData name="Schneider, Magnus" userId="e376590a-0cd7-41b2-b0c3-2067402e926d" providerId="ADAL" clId="{9C66300D-B9E5-4635-975C-19C696C9CF78}" dt="2024-02-08T10:34:38.989" v="6023" actId="20577"/>
          <ac:spMkLst>
            <pc:docMk/>
            <pc:sldMk cId="1459322966" sldId="379"/>
            <ac:spMk id="14" creationId="{244CDDEF-711E-27D4-91C1-EABCA35229F2}"/>
          </ac:spMkLst>
        </pc:spChg>
        <pc:spChg chg="mod">
          <ac:chgData name="Schneider, Magnus" userId="e376590a-0cd7-41b2-b0c3-2067402e926d" providerId="ADAL" clId="{9C66300D-B9E5-4635-975C-19C696C9CF78}" dt="2024-02-08T10:34:42.954" v="6027" actId="20577"/>
          <ac:spMkLst>
            <pc:docMk/>
            <pc:sldMk cId="1459322966" sldId="379"/>
            <ac:spMk id="15" creationId="{EDBCF9F5-5B1D-4AC7-1A5D-B044DE93DBB2}"/>
          </ac:spMkLst>
        </pc:spChg>
        <pc:spChg chg="add del">
          <ac:chgData name="Schneider, Magnus" userId="e376590a-0cd7-41b2-b0c3-2067402e926d" providerId="ADAL" clId="{9C66300D-B9E5-4635-975C-19C696C9CF78}" dt="2024-02-06T14:42:23.929" v="2611" actId="22"/>
          <ac:spMkLst>
            <pc:docMk/>
            <pc:sldMk cId="1459322966" sldId="379"/>
            <ac:spMk id="16" creationId="{8683FBC9-C0DD-29FA-DBCC-69D8FD7AD696}"/>
          </ac:spMkLst>
        </pc:spChg>
        <pc:spChg chg="add del">
          <ac:chgData name="Schneider, Magnus" userId="e376590a-0cd7-41b2-b0c3-2067402e926d" providerId="ADAL" clId="{9C66300D-B9E5-4635-975C-19C696C9CF78}" dt="2024-02-06T14:42:37.492" v="2613" actId="22"/>
          <ac:spMkLst>
            <pc:docMk/>
            <pc:sldMk cId="1459322966" sldId="379"/>
            <ac:spMk id="18" creationId="{13E9C411-B1F9-E57F-278E-74817A801B69}"/>
          </ac:spMkLst>
        </pc:spChg>
        <pc:spChg chg="add mod">
          <ac:chgData name="Schneider, Magnus" userId="e376590a-0cd7-41b2-b0c3-2067402e926d" providerId="ADAL" clId="{9C66300D-B9E5-4635-975C-19C696C9CF78}" dt="2024-02-06T14:49:07.296" v="2889" actId="20577"/>
          <ac:spMkLst>
            <pc:docMk/>
            <pc:sldMk cId="1459322966" sldId="379"/>
            <ac:spMk id="22" creationId="{077BD1F8-8193-2677-B27F-90BD791E01D9}"/>
          </ac:spMkLst>
        </pc:spChg>
        <pc:spChg chg="add mod">
          <ac:chgData name="Schneider, Magnus" userId="e376590a-0cd7-41b2-b0c3-2067402e926d" providerId="ADAL" clId="{9C66300D-B9E5-4635-975C-19C696C9CF78}" dt="2024-02-06T14:57:30.030" v="3129" actId="20577"/>
          <ac:spMkLst>
            <pc:docMk/>
            <pc:sldMk cId="1459322966" sldId="379"/>
            <ac:spMk id="24" creationId="{A47C3943-4563-E766-40C4-D838242542D8}"/>
          </ac:spMkLst>
        </pc:spChg>
        <pc:picChg chg="add del mod">
          <ac:chgData name="Schneider, Magnus" userId="e376590a-0cd7-41b2-b0c3-2067402e926d" providerId="ADAL" clId="{9C66300D-B9E5-4635-975C-19C696C9CF78}" dt="2024-02-06T14:43:49.918" v="2618" actId="478"/>
          <ac:picMkLst>
            <pc:docMk/>
            <pc:sldMk cId="1459322966" sldId="379"/>
            <ac:picMk id="20" creationId="{E0F53FB3-BF69-A8A9-0B65-2EC01CD1A57C}"/>
          </ac:picMkLst>
        </pc:picChg>
        <pc:picChg chg="add mod">
          <ac:chgData name="Schneider, Magnus" userId="e376590a-0cd7-41b2-b0c3-2067402e926d" providerId="ADAL" clId="{9C66300D-B9E5-4635-975C-19C696C9CF78}" dt="2024-02-06T14:43:46.655" v="2617"/>
          <ac:picMkLst>
            <pc:docMk/>
            <pc:sldMk cId="1459322966" sldId="379"/>
            <ac:picMk id="21" creationId="{F989FF5A-8DEA-7ADC-6D38-B34BC849B232}"/>
          </ac:picMkLst>
        </pc:picChg>
        <pc:picChg chg="add mod">
          <ac:chgData name="Schneider, Magnus" userId="e376590a-0cd7-41b2-b0c3-2067402e926d" providerId="ADAL" clId="{9C66300D-B9E5-4635-975C-19C696C9CF78}" dt="2024-02-06T14:43:54.809" v="2619" actId="14826"/>
          <ac:picMkLst>
            <pc:docMk/>
            <pc:sldMk cId="1459322966" sldId="379"/>
            <ac:picMk id="23" creationId="{840121DE-60BD-C563-CB8D-088B1F38B869}"/>
          </ac:picMkLst>
        </pc:picChg>
      </pc:sldChg>
      <pc:sldChg chg="addSp modSp add mod ord modNotesTx">
        <pc:chgData name="Schneider, Magnus" userId="e376590a-0cd7-41b2-b0c3-2067402e926d" providerId="ADAL" clId="{9C66300D-B9E5-4635-975C-19C696C9CF78}" dt="2024-02-08T10:34:57.852" v="6037" actId="20577"/>
        <pc:sldMkLst>
          <pc:docMk/>
          <pc:sldMk cId="3918021166" sldId="380"/>
        </pc:sldMkLst>
        <pc:spChg chg="mod">
          <ac:chgData name="Schneider, Magnus" userId="e376590a-0cd7-41b2-b0c3-2067402e926d" providerId="ADAL" clId="{9C66300D-B9E5-4635-975C-19C696C9CF78}" dt="2024-02-08T10:27:38.328" v="5918" actId="20577"/>
          <ac:spMkLst>
            <pc:docMk/>
            <pc:sldMk cId="3918021166" sldId="380"/>
            <ac:spMk id="6" creationId="{24E3E05C-6499-F571-83F1-B1C58C500F0C}"/>
          </ac:spMkLst>
        </pc:spChg>
        <pc:spChg chg="add mod">
          <ac:chgData name="Schneider, Magnus" userId="e376590a-0cd7-41b2-b0c3-2067402e926d" providerId="ADAL" clId="{9C66300D-B9E5-4635-975C-19C696C9CF78}" dt="2024-02-06T14:53:29.488" v="2981" actId="20577"/>
          <ac:spMkLst>
            <pc:docMk/>
            <pc:sldMk cId="3918021166" sldId="380"/>
            <ac:spMk id="7" creationId="{9EA44344-E00A-B167-37C1-CFBB959D9CB3}"/>
          </ac:spMkLst>
        </pc:spChg>
        <pc:spChg chg="mod">
          <ac:chgData name="Schneider, Magnus" userId="e376590a-0cd7-41b2-b0c3-2067402e926d" providerId="ADAL" clId="{9C66300D-B9E5-4635-975C-19C696C9CF78}" dt="2024-02-08T10:27:03.453" v="5834"/>
          <ac:spMkLst>
            <pc:docMk/>
            <pc:sldMk cId="3918021166" sldId="380"/>
            <ac:spMk id="9" creationId="{80D76935-D78F-58E6-0E34-13D96F03E807}"/>
          </ac:spMkLst>
        </pc:spChg>
        <pc:spChg chg="mod">
          <ac:chgData name="Schneider, Magnus" userId="e376590a-0cd7-41b2-b0c3-2067402e926d" providerId="ADAL" clId="{9C66300D-B9E5-4635-975C-19C696C9CF78}" dt="2024-02-06T13:43:16.559" v="1466" actId="207"/>
          <ac:spMkLst>
            <pc:docMk/>
            <pc:sldMk cId="3918021166" sldId="380"/>
            <ac:spMk id="12" creationId="{2580D0A9-E2A2-010F-47CB-8CCFECA28BA0}"/>
          </ac:spMkLst>
        </pc:spChg>
        <pc:spChg chg="mod">
          <ac:chgData name="Schneider, Magnus" userId="e376590a-0cd7-41b2-b0c3-2067402e926d" providerId="ADAL" clId="{9C66300D-B9E5-4635-975C-19C696C9CF78}" dt="2024-02-08T10:34:50.664" v="6031" actId="20577"/>
          <ac:spMkLst>
            <pc:docMk/>
            <pc:sldMk cId="3918021166" sldId="380"/>
            <ac:spMk id="13" creationId="{39561FA0-E4B7-04B9-D51D-F83413EF8D7A}"/>
          </ac:spMkLst>
        </pc:spChg>
        <pc:spChg chg="mod">
          <ac:chgData name="Schneider, Magnus" userId="e376590a-0cd7-41b2-b0c3-2067402e926d" providerId="ADAL" clId="{9C66300D-B9E5-4635-975C-19C696C9CF78}" dt="2024-02-08T10:34:53.038" v="6033" actId="20577"/>
          <ac:spMkLst>
            <pc:docMk/>
            <pc:sldMk cId="3918021166" sldId="380"/>
            <ac:spMk id="14" creationId="{4F9E5757-1B2E-1204-DE09-980CD5455E91}"/>
          </ac:spMkLst>
        </pc:spChg>
        <pc:spChg chg="mod">
          <ac:chgData name="Schneider, Magnus" userId="e376590a-0cd7-41b2-b0c3-2067402e926d" providerId="ADAL" clId="{9C66300D-B9E5-4635-975C-19C696C9CF78}" dt="2024-02-08T10:34:57.852" v="6037" actId="20577"/>
          <ac:spMkLst>
            <pc:docMk/>
            <pc:sldMk cId="3918021166" sldId="380"/>
            <ac:spMk id="15" creationId="{23DAFCF8-7505-143C-8DDE-B882C905962A}"/>
          </ac:spMkLst>
        </pc:spChg>
        <pc:spChg chg="add mod">
          <ac:chgData name="Schneider, Magnus" userId="e376590a-0cd7-41b2-b0c3-2067402e926d" providerId="ADAL" clId="{9C66300D-B9E5-4635-975C-19C696C9CF78}" dt="2024-02-07T09:10:19.322" v="4149" actId="1076"/>
          <ac:spMkLst>
            <pc:docMk/>
            <pc:sldMk cId="3918021166" sldId="380"/>
            <ac:spMk id="16" creationId="{DED1E4E5-1C13-EF97-9908-AA2D3C6244AA}"/>
          </ac:spMkLst>
        </pc:spChg>
        <pc:picChg chg="add mod">
          <ac:chgData name="Schneider, Magnus" userId="e376590a-0cd7-41b2-b0c3-2067402e926d" providerId="ADAL" clId="{9C66300D-B9E5-4635-975C-19C696C9CF78}" dt="2024-02-06T14:53:55.084" v="2982" actId="14826"/>
          <ac:picMkLst>
            <pc:docMk/>
            <pc:sldMk cId="3918021166" sldId="380"/>
            <ac:picMk id="5" creationId="{B998FE27-A959-ED3B-5116-9DA2BA61919B}"/>
          </ac:picMkLst>
        </pc:picChg>
        <pc:picChg chg="add mod">
          <ac:chgData name="Schneider, Magnus" userId="e376590a-0cd7-41b2-b0c3-2067402e926d" providerId="ADAL" clId="{9C66300D-B9E5-4635-975C-19C696C9CF78}" dt="2024-02-06T14:52:30.690" v="2893" actId="14826"/>
          <ac:picMkLst>
            <pc:docMk/>
            <pc:sldMk cId="3918021166" sldId="380"/>
            <ac:picMk id="10" creationId="{17DE9405-0172-5E16-F51B-239480576F97}"/>
          </ac:picMkLst>
        </pc:picChg>
      </pc:sldChg>
      <pc:sldChg chg="add del">
        <pc:chgData name="Schneider, Magnus" userId="e376590a-0cd7-41b2-b0c3-2067402e926d" providerId="ADAL" clId="{9C66300D-B9E5-4635-975C-19C696C9CF78}" dt="2024-02-06T13:40:07.122" v="1382" actId="47"/>
        <pc:sldMkLst>
          <pc:docMk/>
          <pc:sldMk cId="3967222730" sldId="380"/>
        </pc:sldMkLst>
      </pc:sldChg>
      <pc:sldChg chg="addSp delSp modSp add mod ord modNotesTx">
        <pc:chgData name="Schneider, Magnus" userId="e376590a-0cd7-41b2-b0c3-2067402e926d" providerId="ADAL" clId="{9C66300D-B9E5-4635-975C-19C696C9CF78}" dt="2024-02-08T10:35:18.971" v="6051" actId="20577"/>
        <pc:sldMkLst>
          <pc:docMk/>
          <pc:sldMk cId="526707996" sldId="381"/>
        </pc:sldMkLst>
        <pc:spChg chg="mod">
          <ac:chgData name="Schneider, Magnus" userId="e376590a-0cd7-41b2-b0c3-2067402e926d" providerId="ADAL" clId="{9C66300D-B9E5-4635-975C-19C696C9CF78}" dt="2024-02-08T10:27:45.746" v="5941" actId="20577"/>
          <ac:spMkLst>
            <pc:docMk/>
            <pc:sldMk cId="526707996" sldId="381"/>
            <ac:spMk id="6" creationId="{FD475544-F8E7-8DD8-F38F-82467808EFBB}"/>
          </ac:spMkLst>
        </pc:spChg>
        <pc:spChg chg="add del mod">
          <ac:chgData name="Schneider, Magnus" userId="e376590a-0cd7-41b2-b0c3-2067402e926d" providerId="ADAL" clId="{9C66300D-B9E5-4635-975C-19C696C9CF78}" dt="2024-02-06T15:09:15.223" v="3328" actId="478"/>
          <ac:spMkLst>
            <pc:docMk/>
            <pc:sldMk cId="526707996" sldId="381"/>
            <ac:spMk id="7" creationId="{687FEBE9-691E-73AF-9569-F501843AF1D5}"/>
          </ac:spMkLst>
        </pc:spChg>
        <pc:spChg chg="mod">
          <ac:chgData name="Schneider, Magnus" userId="e376590a-0cd7-41b2-b0c3-2067402e926d" providerId="ADAL" clId="{9C66300D-B9E5-4635-975C-19C696C9CF78}" dt="2024-02-08T10:27:06.529" v="5835"/>
          <ac:spMkLst>
            <pc:docMk/>
            <pc:sldMk cId="526707996" sldId="381"/>
            <ac:spMk id="9" creationId="{AA6A2559-2103-5790-4CD5-CA6B5584264F}"/>
          </ac:spMkLst>
        </pc:spChg>
        <pc:spChg chg="mod">
          <ac:chgData name="Schneider, Magnus" userId="e376590a-0cd7-41b2-b0c3-2067402e926d" providerId="ADAL" clId="{9C66300D-B9E5-4635-975C-19C696C9CF78}" dt="2024-02-08T10:35:18.971" v="6051" actId="20577"/>
          <ac:spMkLst>
            <pc:docMk/>
            <pc:sldMk cId="526707996" sldId="381"/>
            <ac:spMk id="12" creationId="{42934032-425B-8B3D-A884-84FFCA908A37}"/>
          </ac:spMkLst>
        </pc:spChg>
        <pc:spChg chg="mod">
          <ac:chgData name="Schneider, Magnus" userId="e376590a-0cd7-41b2-b0c3-2067402e926d" providerId="ADAL" clId="{9C66300D-B9E5-4635-975C-19C696C9CF78}" dt="2024-02-08T10:35:12.257" v="6047" actId="20577"/>
          <ac:spMkLst>
            <pc:docMk/>
            <pc:sldMk cId="526707996" sldId="381"/>
            <ac:spMk id="13" creationId="{B4C3C2A9-9EB0-2A1B-C26B-89DD0EA066ED}"/>
          </ac:spMkLst>
        </pc:spChg>
        <pc:spChg chg="mod">
          <ac:chgData name="Schneider, Magnus" userId="e376590a-0cd7-41b2-b0c3-2067402e926d" providerId="ADAL" clId="{9C66300D-B9E5-4635-975C-19C696C9CF78}" dt="2024-02-08T10:35:02.432" v="6039" actId="20577"/>
          <ac:spMkLst>
            <pc:docMk/>
            <pc:sldMk cId="526707996" sldId="381"/>
            <ac:spMk id="14" creationId="{014A5DC7-329C-ED9C-02FE-B513BD386907}"/>
          </ac:spMkLst>
        </pc:spChg>
        <pc:spChg chg="mod">
          <ac:chgData name="Schneider, Magnus" userId="e376590a-0cd7-41b2-b0c3-2067402e926d" providerId="ADAL" clId="{9C66300D-B9E5-4635-975C-19C696C9CF78}" dt="2024-02-08T10:35:07.198" v="6043" actId="20577"/>
          <ac:spMkLst>
            <pc:docMk/>
            <pc:sldMk cId="526707996" sldId="381"/>
            <ac:spMk id="15" creationId="{552DE7A9-9056-C5F4-E31A-3DE7CF5A85A5}"/>
          </ac:spMkLst>
        </pc:spChg>
        <pc:spChg chg="add del mod">
          <ac:chgData name="Schneider, Magnus" userId="e376590a-0cd7-41b2-b0c3-2067402e926d" providerId="ADAL" clId="{9C66300D-B9E5-4635-975C-19C696C9CF78}" dt="2024-02-06T15:09:15.223" v="3328" actId="478"/>
          <ac:spMkLst>
            <pc:docMk/>
            <pc:sldMk cId="526707996" sldId="381"/>
            <ac:spMk id="16" creationId="{E71EBB5F-B126-59F2-F3B8-E4E3633FBBC3}"/>
          </ac:spMkLst>
        </pc:spChg>
        <pc:spChg chg="add mod">
          <ac:chgData name="Schneider, Magnus" userId="e376590a-0cd7-41b2-b0c3-2067402e926d" providerId="ADAL" clId="{9C66300D-B9E5-4635-975C-19C696C9CF78}" dt="2024-02-06T15:12:11.337" v="3426" actId="20577"/>
          <ac:spMkLst>
            <pc:docMk/>
            <pc:sldMk cId="526707996" sldId="381"/>
            <ac:spMk id="18" creationId="{67FF3A8E-5E1A-8B48-2E9B-7A33E8F78735}"/>
          </ac:spMkLst>
        </pc:spChg>
        <pc:spChg chg="add mod">
          <ac:chgData name="Schneider, Magnus" userId="e376590a-0cd7-41b2-b0c3-2067402e926d" providerId="ADAL" clId="{9C66300D-B9E5-4635-975C-19C696C9CF78}" dt="2024-02-06T15:14:07.177" v="3518" actId="20577"/>
          <ac:spMkLst>
            <pc:docMk/>
            <pc:sldMk cId="526707996" sldId="381"/>
            <ac:spMk id="20" creationId="{D90E22C2-F1A2-DDE6-532D-E77EB253B6AF}"/>
          </ac:spMkLst>
        </pc:spChg>
        <pc:spChg chg="add mod">
          <ac:chgData name="Schneider, Magnus" userId="e376590a-0cd7-41b2-b0c3-2067402e926d" providerId="ADAL" clId="{9C66300D-B9E5-4635-975C-19C696C9CF78}" dt="2024-02-06T15:17:26.819" v="3660" actId="20577"/>
          <ac:spMkLst>
            <pc:docMk/>
            <pc:sldMk cId="526707996" sldId="381"/>
            <ac:spMk id="22" creationId="{19793554-477E-AE94-7543-09770AFCBD63}"/>
          </ac:spMkLst>
        </pc:spChg>
        <pc:picChg chg="add del mod">
          <ac:chgData name="Schneider, Magnus" userId="e376590a-0cd7-41b2-b0c3-2067402e926d" providerId="ADAL" clId="{9C66300D-B9E5-4635-975C-19C696C9CF78}" dt="2024-02-06T15:09:15.223" v="3328" actId="478"/>
          <ac:picMkLst>
            <pc:docMk/>
            <pc:sldMk cId="526707996" sldId="381"/>
            <ac:picMk id="5" creationId="{76B80337-6F1C-F8EF-0FCD-FBF4E2C797DF}"/>
          </ac:picMkLst>
        </pc:picChg>
        <pc:picChg chg="add del mod">
          <ac:chgData name="Schneider, Magnus" userId="e376590a-0cd7-41b2-b0c3-2067402e926d" providerId="ADAL" clId="{9C66300D-B9E5-4635-975C-19C696C9CF78}" dt="2024-02-06T15:09:15.223" v="3328" actId="478"/>
          <ac:picMkLst>
            <pc:docMk/>
            <pc:sldMk cId="526707996" sldId="381"/>
            <ac:picMk id="10" creationId="{ED721583-09D2-7AAC-098E-7AD0E5B8739D}"/>
          </ac:picMkLst>
        </pc:picChg>
        <pc:picChg chg="add mod">
          <ac:chgData name="Schneider, Magnus" userId="e376590a-0cd7-41b2-b0c3-2067402e926d" providerId="ADAL" clId="{9C66300D-B9E5-4635-975C-19C696C9CF78}" dt="2024-02-06T15:13:22.708" v="3429" actId="14826"/>
          <ac:picMkLst>
            <pc:docMk/>
            <pc:sldMk cId="526707996" sldId="381"/>
            <ac:picMk id="17" creationId="{2A8E2CBC-2C6D-E90E-B1DD-14DE20461EA4}"/>
          </ac:picMkLst>
        </pc:picChg>
        <pc:picChg chg="add mod">
          <ac:chgData name="Schneider, Magnus" userId="e376590a-0cd7-41b2-b0c3-2067402e926d" providerId="ADAL" clId="{9C66300D-B9E5-4635-975C-19C696C9CF78}" dt="2024-02-06T15:12:34.232" v="3427" actId="14826"/>
          <ac:picMkLst>
            <pc:docMk/>
            <pc:sldMk cId="526707996" sldId="381"/>
            <ac:picMk id="19" creationId="{8E58E611-5B24-2123-0AE3-5E1CED5AED55}"/>
          </ac:picMkLst>
        </pc:picChg>
        <pc:picChg chg="add mod">
          <ac:chgData name="Schneider, Magnus" userId="e376590a-0cd7-41b2-b0c3-2067402e926d" providerId="ADAL" clId="{9C66300D-B9E5-4635-975C-19C696C9CF78}" dt="2024-02-06T15:15:41.343" v="3519" actId="14826"/>
          <ac:picMkLst>
            <pc:docMk/>
            <pc:sldMk cId="526707996" sldId="381"/>
            <ac:picMk id="21" creationId="{1F31DFFB-A026-C304-9A8B-ACCA4BF44004}"/>
          </ac:picMkLst>
        </pc:picChg>
      </pc:sldChg>
      <pc:sldChg chg="addSp modSp add mod ord modNotesTx">
        <pc:chgData name="Schneider, Magnus" userId="e376590a-0cd7-41b2-b0c3-2067402e926d" providerId="ADAL" clId="{9C66300D-B9E5-4635-975C-19C696C9CF78}" dt="2024-02-08T10:35:43.809" v="6065" actId="20577"/>
        <pc:sldMkLst>
          <pc:docMk/>
          <pc:sldMk cId="447731735" sldId="382"/>
        </pc:sldMkLst>
        <pc:spChg chg="mod">
          <ac:chgData name="Schneider, Magnus" userId="e376590a-0cd7-41b2-b0c3-2067402e926d" providerId="ADAL" clId="{9C66300D-B9E5-4635-975C-19C696C9CF78}" dt="2024-02-08T10:28:00.391" v="5967" actId="20577"/>
          <ac:spMkLst>
            <pc:docMk/>
            <pc:sldMk cId="447731735" sldId="382"/>
            <ac:spMk id="6" creationId="{1EF04E36-F190-8650-A3BE-41B8475A77D4}"/>
          </ac:spMkLst>
        </pc:spChg>
        <pc:spChg chg="add mod">
          <ac:chgData name="Schneider, Magnus" userId="e376590a-0cd7-41b2-b0c3-2067402e926d" providerId="ADAL" clId="{9C66300D-B9E5-4635-975C-19C696C9CF78}" dt="2024-02-06T15:27:27.081" v="3818" actId="20577"/>
          <ac:spMkLst>
            <pc:docMk/>
            <pc:sldMk cId="447731735" sldId="382"/>
            <ac:spMk id="7" creationId="{F460E819-90E4-3A3B-61E6-F12AA83ACDDF}"/>
          </ac:spMkLst>
        </pc:spChg>
        <pc:spChg chg="mod">
          <ac:chgData name="Schneider, Magnus" userId="e376590a-0cd7-41b2-b0c3-2067402e926d" providerId="ADAL" clId="{9C66300D-B9E5-4635-975C-19C696C9CF78}" dt="2024-02-08T10:27:09.549" v="5836"/>
          <ac:spMkLst>
            <pc:docMk/>
            <pc:sldMk cId="447731735" sldId="382"/>
            <ac:spMk id="9" creationId="{08BE19DE-41F8-B653-44B9-553C85607134}"/>
          </ac:spMkLst>
        </pc:spChg>
        <pc:spChg chg="mod">
          <ac:chgData name="Schneider, Magnus" userId="e376590a-0cd7-41b2-b0c3-2067402e926d" providerId="ADAL" clId="{9C66300D-B9E5-4635-975C-19C696C9CF78}" dt="2024-02-08T10:35:27.190" v="6055" actId="20577"/>
          <ac:spMkLst>
            <pc:docMk/>
            <pc:sldMk cId="447731735" sldId="382"/>
            <ac:spMk id="12" creationId="{8D1C4BC1-073B-C08F-1CD5-2F39C334C1F7}"/>
          </ac:spMkLst>
        </pc:spChg>
        <pc:spChg chg="mod">
          <ac:chgData name="Schneider, Magnus" userId="e376590a-0cd7-41b2-b0c3-2067402e926d" providerId="ADAL" clId="{9C66300D-B9E5-4635-975C-19C696C9CF78}" dt="2024-02-08T10:35:33.521" v="6059" actId="20577"/>
          <ac:spMkLst>
            <pc:docMk/>
            <pc:sldMk cId="447731735" sldId="382"/>
            <ac:spMk id="13" creationId="{CB26EF0E-CD0A-6250-3F21-7A8C5E4A1DB4}"/>
          </ac:spMkLst>
        </pc:spChg>
        <pc:spChg chg="mod">
          <ac:chgData name="Schneider, Magnus" userId="e376590a-0cd7-41b2-b0c3-2067402e926d" providerId="ADAL" clId="{9C66300D-B9E5-4635-975C-19C696C9CF78}" dt="2024-02-08T10:35:39.893" v="6061" actId="20577"/>
          <ac:spMkLst>
            <pc:docMk/>
            <pc:sldMk cId="447731735" sldId="382"/>
            <ac:spMk id="14" creationId="{7BAF3309-1E73-032A-F9E9-B56064D94A59}"/>
          </ac:spMkLst>
        </pc:spChg>
        <pc:spChg chg="mod">
          <ac:chgData name="Schneider, Magnus" userId="e376590a-0cd7-41b2-b0c3-2067402e926d" providerId="ADAL" clId="{9C66300D-B9E5-4635-975C-19C696C9CF78}" dt="2024-02-08T10:35:43.809" v="6065" actId="20577"/>
          <ac:spMkLst>
            <pc:docMk/>
            <pc:sldMk cId="447731735" sldId="382"/>
            <ac:spMk id="15" creationId="{371ACE6E-1907-A53F-AA0F-013A6D8BDA91}"/>
          </ac:spMkLst>
        </pc:spChg>
        <pc:spChg chg="add mod">
          <ac:chgData name="Schneider, Magnus" userId="e376590a-0cd7-41b2-b0c3-2067402e926d" providerId="ADAL" clId="{9C66300D-B9E5-4635-975C-19C696C9CF78}" dt="2024-02-06T15:28:37.449" v="3881" actId="20577"/>
          <ac:spMkLst>
            <pc:docMk/>
            <pc:sldMk cId="447731735" sldId="382"/>
            <ac:spMk id="16" creationId="{CB606896-D19D-DBE2-4C3F-3800B4808B8D}"/>
          </ac:spMkLst>
        </pc:spChg>
        <pc:spChg chg="add mod">
          <ac:chgData name="Schneider, Magnus" userId="e376590a-0cd7-41b2-b0c3-2067402e926d" providerId="ADAL" clId="{9C66300D-B9E5-4635-975C-19C696C9CF78}" dt="2024-02-06T15:30:19.668" v="4011"/>
          <ac:spMkLst>
            <pc:docMk/>
            <pc:sldMk cId="447731735" sldId="382"/>
            <ac:spMk id="18" creationId="{378FB96F-6CA4-340B-76F2-0C70DC2BAA52}"/>
          </ac:spMkLst>
        </pc:spChg>
        <pc:picChg chg="add mod">
          <ac:chgData name="Schneider, Magnus" userId="e376590a-0cd7-41b2-b0c3-2067402e926d" providerId="ADAL" clId="{9C66300D-B9E5-4635-975C-19C696C9CF78}" dt="2024-02-06T15:25:11.730" v="3662" actId="14826"/>
          <ac:picMkLst>
            <pc:docMk/>
            <pc:sldMk cId="447731735" sldId="382"/>
            <ac:picMk id="5" creationId="{ACDE6514-42E1-97EB-AB4A-F96005586B25}"/>
          </ac:picMkLst>
        </pc:picChg>
        <pc:picChg chg="add mod">
          <ac:chgData name="Schneider, Magnus" userId="e376590a-0cd7-41b2-b0c3-2067402e926d" providerId="ADAL" clId="{9C66300D-B9E5-4635-975C-19C696C9CF78}" dt="2024-02-06T15:24:43.293" v="3661" actId="14826"/>
          <ac:picMkLst>
            <pc:docMk/>
            <pc:sldMk cId="447731735" sldId="382"/>
            <ac:picMk id="10" creationId="{7F0A9E1E-08D7-B50D-1144-076EAD457232}"/>
          </ac:picMkLst>
        </pc:picChg>
        <pc:picChg chg="add mod">
          <ac:chgData name="Schneider, Magnus" userId="e376590a-0cd7-41b2-b0c3-2067402e926d" providerId="ADAL" clId="{9C66300D-B9E5-4635-975C-19C696C9CF78}" dt="2024-02-06T15:25:48.589" v="3663" actId="14826"/>
          <ac:picMkLst>
            <pc:docMk/>
            <pc:sldMk cId="447731735" sldId="382"/>
            <ac:picMk id="17" creationId="{3342356A-6CEE-A8D7-7375-5740821B6EEB}"/>
          </ac:picMkLst>
        </pc:picChg>
      </pc:sldChg>
      <pc:sldChg chg="modNotesTx">
        <pc:chgData name="Schneider, Magnus" userId="e376590a-0cd7-41b2-b0c3-2067402e926d" providerId="ADAL" clId="{9C66300D-B9E5-4635-975C-19C696C9CF78}" dt="2024-02-08T10:45:59.419" v="6263" actId="20577"/>
        <pc:sldMkLst>
          <pc:docMk/>
          <pc:sldMk cId="168182596" sldId="384"/>
        </pc:sldMkLst>
      </pc:sldChg>
      <pc:sldChg chg="modSp mod modNotesTx">
        <pc:chgData name="Schneider, Magnus" userId="e376590a-0cd7-41b2-b0c3-2067402e926d" providerId="ADAL" clId="{9C66300D-B9E5-4635-975C-19C696C9CF78}" dt="2024-02-08T16:41:32.721" v="7287" actId="20577"/>
        <pc:sldMkLst>
          <pc:docMk/>
          <pc:sldMk cId="3184284025" sldId="385"/>
        </pc:sldMkLst>
        <pc:spChg chg="mod">
          <ac:chgData name="Schneider, Magnus" userId="e376590a-0cd7-41b2-b0c3-2067402e926d" providerId="ADAL" clId="{9C66300D-B9E5-4635-975C-19C696C9CF78}" dt="2024-02-08T16:41:32.721" v="7287" actId="20577"/>
          <ac:spMkLst>
            <pc:docMk/>
            <pc:sldMk cId="3184284025" sldId="385"/>
            <ac:spMk id="12" creationId="{63D0ACEB-2A0F-8ACB-15F9-FEEE111A3E0A}"/>
          </ac:spMkLst>
        </pc:spChg>
      </pc:sldChg>
      <pc:sldChg chg="modSp mod modNotesTx">
        <pc:chgData name="Schneider, Magnus" userId="e376590a-0cd7-41b2-b0c3-2067402e926d" providerId="ADAL" clId="{9C66300D-B9E5-4635-975C-19C696C9CF78}" dt="2024-02-08T16:41:03.385" v="7285" actId="20577"/>
        <pc:sldMkLst>
          <pc:docMk/>
          <pc:sldMk cId="3321945845" sldId="386"/>
        </pc:sldMkLst>
        <pc:spChg chg="mod">
          <ac:chgData name="Schneider, Magnus" userId="e376590a-0cd7-41b2-b0c3-2067402e926d" providerId="ADAL" clId="{9C66300D-B9E5-4635-975C-19C696C9CF78}" dt="2024-02-08T16:41:03.385" v="7285" actId="20577"/>
          <ac:spMkLst>
            <pc:docMk/>
            <pc:sldMk cId="3321945845" sldId="386"/>
            <ac:spMk id="12" creationId="{33D45416-6147-EF55-945B-12340AD90F06}"/>
          </ac:spMkLst>
        </pc:spChg>
      </pc:sldChg>
      <pc:sldChg chg="modSp mod modNotesTx">
        <pc:chgData name="Schneider, Magnus" userId="e376590a-0cd7-41b2-b0c3-2067402e926d" providerId="ADAL" clId="{9C66300D-B9E5-4635-975C-19C696C9CF78}" dt="2024-02-08T16:40:57.359" v="7283" actId="20577"/>
        <pc:sldMkLst>
          <pc:docMk/>
          <pc:sldMk cId="246774282" sldId="387"/>
        </pc:sldMkLst>
        <pc:spChg chg="mod">
          <ac:chgData name="Schneider, Magnus" userId="e376590a-0cd7-41b2-b0c3-2067402e926d" providerId="ADAL" clId="{9C66300D-B9E5-4635-975C-19C696C9CF78}" dt="2024-02-08T16:40:57.359" v="7283" actId="20577"/>
          <ac:spMkLst>
            <pc:docMk/>
            <pc:sldMk cId="246774282" sldId="387"/>
            <ac:spMk id="12" creationId="{3466FA6E-BB81-3245-4EA4-F5A49CA8A996}"/>
          </ac:spMkLst>
        </pc:spChg>
      </pc:sldChg>
      <pc:sldChg chg="modSp mod modNotesTx">
        <pc:chgData name="Schneider, Magnus" userId="e376590a-0cd7-41b2-b0c3-2067402e926d" providerId="ADAL" clId="{9C66300D-B9E5-4635-975C-19C696C9CF78}" dt="2024-02-08T16:40:54.132" v="7281" actId="20577"/>
        <pc:sldMkLst>
          <pc:docMk/>
          <pc:sldMk cId="46430825" sldId="388"/>
        </pc:sldMkLst>
        <pc:spChg chg="mod">
          <ac:chgData name="Schneider, Magnus" userId="e376590a-0cd7-41b2-b0c3-2067402e926d" providerId="ADAL" clId="{9C66300D-B9E5-4635-975C-19C696C9CF78}" dt="2024-02-08T16:40:54.132" v="7281" actId="20577"/>
          <ac:spMkLst>
            <pc:docMk/>
            <pc:sldMk cId="46430825" sldId="388"/>
            <ac:spMk id="12" creationId="{0FB580C5-384D-CD47-A221-70E54157CDD6}"/>
          </ac:spMkLst>
        </pc:spChg>
      </pc:sldChg>
      <pc:sldChg chg="addSp delSp modSp mod modAnim modNotesTx">
        <pc:chgData name="Schneider, Magnus" userId="e376590a-0cd7-41b2-b0c3-2067402e926d" providerId="ADAL" clId="{9C66300D-B9E5-4635-975C-19C696C9CF78}" dt="2024-02-08T14:43:34.153" v="6884" actId="313"/>
        <pc:sldMkLst>
          <pc:docMk/>
          <pc:sldMk cId="1552487113" sldId="389"/>
        </pc:sldMkLst>
        <pc:spChg chg="mod">
          <ac:chgData name="Schneider, Magnus" userId="e376590a-0cd7-41b2-b0c3-2067402e926d" providerId="ADAL" clId="{9C66300D-B9E5-4635-975C-19C696C9CF78}" dt="2024-02-08T10:26:13.374" v="5810"/>
          <ac:spMkLst>
            <pc:docMk/>
            <pc:sldMk cId="1552487113" sldId="389"/>
            <ac:spMk id="6" creationId="{31BF8D04-73BB-3CC8-B5AC-4B23C2C269E7}"/>
          </ac:spMkLst>
        </pc:spChg>
        <pc:spChg chg="del">
          <ac:chgData name="Schneider, Magnus" userId="e376590a-0cd7-41b2-b0c3-2067402e926d" providerId="ADAL" clId="{9C66300D-B9E5-4635-975C-19C696C9CF78}" dt="2024-02-07T09:59:16.323" v="4214" actId="478"/>
          <ac:spMkLst>
            <pc:docMk/>
            <pc:sldMk cId="1552487113" sldId="389"/>
            <ac:spMk id="7" creationId="{32E908FF-32E1-D37B-0E42-907C9826F66E}"/>
          </ac:spMkLst>
        </pc:spChg>
        <pc:spChg chg="mod">
          <ac:chgData name="Schneider, Magnus" userId="e376590a-0cd7-41b2-b0c3-2067402e926d" providerId="ADAL" clId="{9C66300D-B9E5-4635-975C-19C696C9CF78}" dt="2024-02-08T10:26:21.535" v="5832" actId="20577"/>
          <ac:spMkLst>
            <pc:docMk/>
            <pc:sldMk cId="1552487113" sldId="389"/>
            <ac:spMk id="9" creationId="{23D4EBB1-3150-5676-B77D-2EADE397C87A}"/>
          </ac:spMkLst>
        </pc:spChg>
        <pc:spChg chg="del">
          <ac:chgData name="Schneider, Magnus" userId="e376590a-0cd7-41b2-b0c3-2067402e926d" providerId="ADAL" clId="{9C66300D-B9E5-4635-975C-19C696C9CF78}" dt="2024-02-07T09:59:16.323" v="4214" actId="478"/>
          <ac:spMkLst>
            <pc:docMk/>
            <pc:sldMk cId="1552487113" sldId="389"/>
            <ac:spMk id="12" creationId="{49130A26-86C8-E024-D92F-CFD25B5CB81B}"/>
          </ac:spMkLst>
        </pc:spChg>
        <pc:spChg chg="del">
          <ac:chgData name="Schneider, Magnus" userId="e376590a-0cd7-41b2-b0c3-2067402e926d" providerId="ADAL" clId="{9C66300D-B9E5-4635-975C-19C696C9CF78}" dt="2024-02-07T09:59:16.323" v="4214" actId="478"/>
          <ac:spMkLst>
            <pc:docMk/>
            <pc:sldMk cId="1552487113" sldId="389"/>
            <ac:spMk id="13" creationId="{F625C21D-748F-D02F-A39A-B6E08C7B93B9}"/>
          </ac:spMkLst>
        </pc:spChg>
        <pc:spChg chg="del">
          <ac:chgData name="Schneider, Magnus" userId="e376590a-0cd7-41b2-b0c3-2067402e926d" providerId="ADAL" clId="{9C66300D-B9E5-4635-975C-19C696C9CF78}" dt="2024-02-07T09:59:16.323" v="4214" actId="478"/>
          <ac:spMkLst>
            <pc:docMk/>
            <pc:sldMk cId="1552487113" sldId="389"/>
            <ac:spMk id="14" creationId="{70C0BF07-11DF-728A-AFA9-7F071DC11834}"/>
          </ac:spMkLst>
        </pc:spChg>
        <pc:spChg chg="del">
          <ac:chgData name="Schneider, Magnus" userId="e376590a-0cd7-41b2-b0c3-2067402e926d" providerId="ADAL" clId="{9C66300D-B9E5-4635-975C-19C696C9CF78}" dt="2024-02-07T09:59:16.323" v="4214" actId="478"/>
          <ac:spMkLst>
            <pc:docMk/>
            <pc:sldMk cId="1552487113" sldId="389"/>
            <ac:spMk id="15" creationId="{B36EE923-BBA3-2A20-E965-06419A40ECB3}"/>
          </ac:spMkLst>
        </pc:spChg>
        <pc:spChg chg="del">
          <ac:chgData name="Schneider, Magnus" userId="e376590a-0cd7-41b2-b0c3-2067402e926d" providerId="ADAL" clId="{9C66300D-B9E5-4635-975C-19C696C9CF78}" dt="2024-02-07T09:59:16.323" v="4214" actId="478"/>
          <ac:spMkLst>
            <pc:docMk/>
            <pc:sldMk cId="1552487113" sldId="389"/>
            <ac:spMk id="16" creationId="{95315514-3F6C-C578-B8CE-FA9D6D212026}"/>
          </ac:spMkLst>
        </pc:spChg>
        <pc:spChg chg="del">
          <ac:chgData name="Schneider, Magnus" userId="e376590a-0cd7-41b2-b0c3-2067402e926d" providerId="ADAL" clId="{9C66300D-B9E5-4635-975C-19C696C9CF78}" dt="2024-02-07T09:59:22.001" v="4215" actId="478"/>
          <ac:spMkLst>
            <pc:docMk/>
            <pc:sldMk cId="1552487113" sldId="389"/>
            <ac:spMk id="18" creationId="{73DA63EB-1B6F-B85F-D0A9-B85B87AEEC1D}"/>
          </ac:spMkLst>
        </pc:spChg>
        <pc:spChg chg="add del mod">
          <ac:chgData name="Schneider, Magnus" userId="e376590a-0cd7-41b2-b0c3-2067402e926d" providerId="ADAL" clId="{9C66300D-B9E5-4635-975C-19C696C9CF78}" dt="2024-02-07T10:03:41.267" v="4384" actId="478"/>
          <ac:spMkLst>
            <pc:docMk/>
            <pc:sldMk cId="1552487113" sldId="389"/>
            <ac:spMk id="19" creationId="{6FB7A399-52E5-B501-5F6D-83EEA9D05173}"/>
          </ac:spMkLst>
        </pc:spChg>
        <pc:spChg chg="add del">
          <ac:chgData name="Schneider, Magnus" userId="e376590a-0cd7-41b2-b0c3-2067402e926d" providerId="ADAL" clId="{9C66300D-B9E5-4635-975C-19C696C9CF78}" dt="2024-02-07T10:03:43.241" v="4386" actId="22"/>
          <ac:spMkLst>
            <pc:docMk/>
            <pc:sldMk cId="1552487113" sldId="389"/>
            <ac:spMk id="21" creationId="{0A4A3382-D2E6-2DE2-875C-33A8160E9EAC}"/>
          </ac:spMkLst>
        </pc:spChg>
        <pc:spChg chg="add mod">
          <ac:chgData name="Schneider, Magnus" userId="e376590a-0cd7-41b2-b0c3-2067402e926d" providerId="ADAL" clId="{9C66300D-B9E5-4635-975C-19C696C9CF78}" dt="2024-02-07T10:07:17.205" v="4429" actId="14100"/>
          <ac:spMkLst>
            <pc:docMk/>
            <pc:sldMk cId="1552487113" sldId="389"/>
            <ac:spMk id="28" creationId="{158FB9A2-A504-0B9A-FAE6-58614FD7CB8E}"/>
          </ac:spMkLst>
        </pc:spChg>
        <pc:spChg chg="add mod">
          <ac:chgData name="Schneider, Magnus" userId="e376590a-0cd7-41b2-b0c3-2067402e926d" providerId="ADAL" clId="{9C66300D-B9E5-4635-975C-19C696C9CF78}" dt="2024-02-07T10:09:42.890" v="4569" actId="14100"/>
          <ac:spMkLst>
            <pc:docMk/>
            <pc:sldMk cId="1552487113" sldId="389"/>
            <ac:spMk id="29" creationId="{D07BAAF8-3248-4720-F864-CE4F1FA62CF1}"/>
          </ac:spMkLst>
        </pc:spChg>
        <pc:spChg chg="add mod">
          <ac:chgData name="Schneider, Magnus" userId="e376590a-0cd7-41b2-b0c3-2067402e926d" providerId="ADAL" clId="{9C66300D-B9E5-4635-975C-19C696C9CF78}" dt="2024-02-07T10:09:36.123" v="4567" actId="20577"/>
          <ac:spMkLst>
            <pc:docMk/>
            <pc:sldMk cId="1552487113" sldId="389"/>
            <ac:spMk id="30" creationId="{A016A3F3-59E3-4A26-48E5-96406881229C}"/>
          </ac:spMkLst>
        </pc:spChg>
        <pc:spChg chg="add del mod">
          <ac:chgData name="Schneider, Magnus" userId="e376590a-0cd7-41b2-b0c3-2067402e926d" providerId="ADAL" clId="{9C66300D-B9E5-4635-975C-19C696C9CF78}" dt="2024-02-07T10:09:23.368" v="4563"/>
          <ac:spMkLst>
            <pc:docMk/>
            <pc:sldMk cId="1552487113" sldId="389"/>
            <ac:spMk id="31" creationId="{AAFA6BF9-EA86-1243-2C16-59EC92E95C86}"/>
          </ac:spMkLst>
        </pc:spChg>
        <pc:spChg chg="add mod">
          <ac:chgData name="Schneider, Magnus" userId="e376590a-0cd7-41b2-b0c3-2067402e926d" providerId="ADAL" clId="{9C66300D-B9E5-4635-975C-19C696C9CF78}" dt="2024-02-07T10:09:48.994" v="4571" actId="1076"/>
          <ac:spMkLst>
            <pc:docMk/>
            <pc:sldMk cId="1552487113" sldId="389"/>
            <ac:spMk id="32" creationId="{2C753EFD-9B2F-DD8F-821E-C6DA13EB005E}"/>
          </ac:spMkLst>
        </pc:spChg>
        <pc:picChg chg="del">
          <ac:chgData name="Schneider, Magnus" userId="e376590a-0cd7-41b2-b0c3-2067402e926d" providerId="ADAL" clId="{9C66300D-B9E5-4635-975C-19C696C9CF78}" dt="2024-02-07T09:59:16.323" v="4214" actId="478"/>
          <ac:picMkLst>
            <pc:docMk/>
            <pc:sldMk cId="1552487113" sldId="389"/>
            <ac:picMk id="5" creationId="{6BA5D832-67E0-35E8-BFD9-8EB738D38DEA}"/>
          </ac:picMkLst>
        </pc:picChg>
        <pc:picChg chg="del">
          <ac:chgData name="Schneider, Magnus" userId="e376590a-0cd7-41b2-b0c3-2067402e926d" providerId="ADAL" clId="{9C66300D-B9E5-4635-975C-19C696C9CF78}" dt="2024-02-07T09:59:16.323" v="4214" actId="478"/>
          <ac:picMkLst>
            <pc:docMk/>
            <pc:sldMk cId="1552487113" sldId="389"/>
            <ac:picMk id="10" creationId="{4AA87EEF-03E9-AF2E-1A37-76930397855B}"/>
          </ac:picMkLst>
        </pc:picChg>
        <pc:picChg chg="del">
          <ac:chgData name="Schneider, Magnus" userId="e376590a-0cd7-41b2-b0c3-2067402e926d" providerId="ADAL" clId="{9C66300D-B9E5-4635-975C-19C696C9CF78}" dt="2024-02-07T09:59:16.323" v="4214" actId="478"/>
          <ac:picMkLst>
            <pc:docMk/>
            <pc:sldMk cId="1552487113" sldId="389"/>
            <ac:picMk id="17" creationId="{4921B8EE-76CC-6833-DCE2-0F57266E16A1}"/>
          </ac:picMkLst>
        </pc:picChg>
        <pc:picChg chg="add mod">
          <ac:chgData name="Schneider, Magnus" userId="e376590a-0cd7-41b2-b0c3-2067402e926d" providerId="ADAL" clId="{9C66300D-B9E5-4635-975C-19C696C9CF78}" dt="2024-02-07T10:06:53.594" v="4425" actId="1076"/>
          <ac:picMkLst>
            <pc:docMk/>
            <pc:sldMk cId="1552487113" sldId="389"/>
            <ac:picMk id="23" creationId="{199F917E-2793-ED9B-0E7E-A5BC71C6BD44}"/>
          </ac:picMkLst>
        </pc:picChg>
        <pc:picChg chg="add mod">
          <ac:chgData name="Schneider, Magnus" userId="e376590a-0cd7-41b2-b0c3-2067402e926d" providerId="ADAL" clId="{9C66300D-B9E5-4635-975C-19C696C9CF78}" dt="2024-02-07T10:06:39.619" v="4422" actId="1035"/>
          <ac:picMkLst>
            <pc:docMk/>
            <pc:sldMk cId="1552487113" sldId="389"/>
            <ac:picMk id="25" creationId="{B4632267-67C3-BE63-D941-0330357DC562}"/>
          </ac:picMkLst>
        </pc:picChg>
        <pc:picChg chg="add mod">
          <ac:chgData name="Schneider, Magnus" userId="e376590a-0cd7-41b2-b0c3-2067402e926d" providerId="ADAL" clId="{9C66300D-B9E5-4635-975C-19C696C9CF78}" dt="2024-02-07T10:08:43.691" v="4516" actId="1035"/>
          <ac:picMkLst>
            <pc:docMk/>
            <pc:sldMk cId="1552487113" sldId="389"/>
            <ac:picMk id="27" creationId="{F4AA6072-3345-7325-B34A-3D364CEC93F5}"/>
          </ac:picMkLst>
        </pc:picChg>
      </pc:sldChg>
      <pc:sldChg chg="addSp delSp modSp mod modNotesTx">
        <pc:chgData name="Schneider, Magnus" userId="e376590a-0cd7-41b2-b0c3-2067402e926d" providerId="ADAL" clId="{9C66300D-B9E5-4635-975C-19C696C9CF78}" dt="2024-02-09T08:51:35.653" v="8110" actId="20577"/>
        <pc:sldMkLst>
          <pc:docMk/>
          <pc:sldMk cId="3007342323" sldId="390"/>
        </pc:sldMkLst>
        <pc:spChg chg="mod">
          <ac:chgData name="Schneider, Magnus" userId="e376590a-0cd7-41b2-b0c3-2067402e926d" providerId="ADAL" clId="{9C66300D-B9E5-4635-975C-19C696C9CF78}" dt="2024-02-08T10:25:54.891" v="5787" actId="20577"/>
          <ac:spMkLst>
            <pc:docMk/>
            <pc:sldMk cId="3007342323" sldId="390"/>
            <ac:spMk id="6" creationId="{0FAA2C2A-F105-13FB-98F7-62413E4A341E}"/>
          </ac:spMkLst>
        </pc:spChg>
        <pc:spChg chg="del">
          <ac:chgData name="Schneider, Magnus" userId="e376590a-0cd7-41b2-b0c3-2067402e926d" providerId="ADAL" clId="{9C66300D-B9E5-4635-975C-19C696C9CF78}" dt="2024-02-07T09:59:26.887" v="4216" actId="478"/>
          <ac:spMkLst>
            <pc:docMk/>
            <pc:sldMk cId="3007342323" sldId="390"/>
            <ac:spMk id="7" creationId="{1B05E97B-8C44-12AE-B070-8729EC09CFE6}"/>
          </ac:spMkLst>
        </pc:spChg>
        <pc:spChg chg="mod">
          <ac:chgData name="Schneider, Magnus" userId="e376590a-0cd7-41b2-b0c3-2067402e926d" providerId="ADAL" clId="{9C66300D-B9E5-4635-975C-19C696C9CF78}" dt="2024-02-08T10:26:05.474" v="5809" actId="20577"/>
          <ac:spMkLst>
            <pc:docMk/>
            <pc:sldMk cId="3007342323" sldId="390"/>
            <ac:spMk id="9" creationId="{EB4BF516-9E7F-157C-21B1-B213A6453283}"/>
          </ac:spMkLst>
        </pc:spChg>
        <pc:spChg chg="del">
          <ac:chgData name="Schneider, Magnus" userId="e376590a-0cd7-41b2-b0c3-2067402e926d" providerId="ADAL" clId="{9C66300D-B9E5-4635-975C-19C696C9CF78}" dt="2024-02-07T09:59:31.730" v="4221" actId="478"/>
          <ac:spMkLst>
            <pc:docMk/>
            <pc:sldMk cId="3007342323" sldId="390"/>
            <ac:spMk id="12" creationId="{DC286750-7E41-6CCE-6E6F-A2622134B61D}"/>
          </ac:spMkLst>
        </pc:spChg>
        <pc:spChg chg="del">
          <ac:chgData name="Schneider, Magnus" userId="e376590a-0cd7-41b2-b0c3-2067402e926d" providerId="ADAL" clId="{9C66300D-B9E5-4635-975C-19C696C9CF78}" dt="2024-02-07T09:59:32.695" v="4222" actId="478"/>
          <ac:spMkLst>
            <pc:docMk/>
            <pc:sldMk cId="3007342323" sldId="390"/>
            <ac:spMk id="13" creationId="{F2988D01-9044-C08F-14FA-B3FB227B9253}"/>
          </ac:spMkLst>
        </pc:spChg>
        <pc:spChg chg="del">
          <ac:chgData name="Schneider, Magnus" userId="e376590a-0cd7-41b2-b0c3-2067402e926d" providerId="ADAL" clId="{9C66300D-B9E5-4635-975C-19C696C9CF78}" dt="2024-02-07T09:59:33.511" v="4223" actId="478"/>
          <ac:spMkLst>
            <pc:docMk/>
            <pc:sldMk cId="3007342323" sldId="390"/>
            <ac:spMk id="14" creationId="{F1173F06-2DE1-21C1-90B6-C4B5C6DE0186}"/>
          </ac:spMkLst>
        </pc:spChg>
        <pc:spChg chg="del">
          <ac:chgData name="Schneider, Magnus" userId="e376590a-0cd7-41b2-b0c3-2067402e926d" providerId="ADAL" clId="{9C66300D-B9E5-4635-975C-19C696C9CF78}" dt="2024-02-07T09:59:34.632" v="4224" actId="478"/>
          <ac:spMkLst>
            <pc:docMk/>
            <pc:sldMk cId="3007342323" sldId="390"/>
            <ac:spMk id="15" creationId="{52511A8C-B21E-8162-3BD6-1A112172EF00}"/>
          </ac:spMkLst>
        </pc:spChg>
        <pc:spChg chg="del mod">
          <ac:chgData name="Schneider, Magnus" userId="e376590a-0cd7-41b2-b0c3-2067402e926d" providerId="ADAL" clId="{9C66300D-B9E5-4635-975C-19C696C9CF78}" dt="2024-02-07T09:59:30.322" v="4220" actId="478"/>
          <ac:spMkLst>
            <pc:docMk/>
            <pc:sldMk cId="3007342323" sldId="390"/>
            <ac:spMk id="16" creationId="{D176F96E-6F33-23BB-1777-1F1CDEC2EB45}"/>
          </ac:spMkLst>
        </pc:spChg>
        <pc:spChg chg="add mod">
          <ac:chgData name="Schneider, Magnus" userId="e376590a-0cd7-41b2-b0c3-2067402e926d" providerId="ADAL" clId="{9C66300D-B9E5-4635-975C-19C696C9CF78}" dt="2024-02-07T15:38:58.832" v="5741" actId="255"/>
          <ac:spMkLst>
            <pc:docMk/>
            <pc:sldMk cId="3007342323" sldId="390"/>
            <ac:spMk id="18" creationId="{21E56E1F-109A-7D88-ED93-B51C2EB8A498}"/>
          </ac:spMkLst>
        </pc:spChg>
        <pc:spChg chg="del mod">
          <ac:chgData name="Schneider, Magnus" userId="e376590a-0cd7-41b2-b0c3-2067402e926d" providerId="ADAL" clId="{9C66300D-B9E5-4635-975C-19C696C9CF78}" dt="2024-02-07T09:59:29.064" v="4219" actId="478"/>
          <ac:spMkLst>
            <pc:docMk/>
            <pc:sldMk cId="3007342323" sldId="390"/>
            <ac:spMk id="18" creationId="{CB2AF6DC-612D-A45E-577C-EC68FCA5D325}"/>
          </ac:spMkLst>
        </pc:spChg>
        <pc:spChg chg="add del mod">
          <ac:chgData name="Schneider, Magnus" userId="e376590a-0cd7-41b2-b0c3-2067402e926d" providerId="ADAL" clId="{9C66300D-B9E5-4635-975C-19C696C9CF78}" dt="2024-02-07T15:32:16.706" v="5735" actId="478"/>
          <ac:spMkLst>
            <pc:docMk/>
            <pc:sldMk cId="3007342323" sldId="390"/>
            <ac:spMk id="19" creationId="{C76AD7E0-96BA-E878-7D53-3D306CFE7F41}"/>
          </ac:spMkLst>
        </pc:spChg>
        <pc:spChg chg="add mod">
          <ac:chgData name="Schneider, Magnus" userId="e376590a-0cd7-41b2-b0c3-2067402e926d" providerId="ADAL" clId="{9C66300D-B9E5-4635-975C-19C696C9CF78}" dt="2024-02-08T10:35:51.177" v="6066" actId="14100"/>
          <ac:spMkLst>
            <pc:docMk/>
            <pc:sldMk cId="3007342323" sldId="390"/>
            <ac:spMk id="21" creationId="{A4EFFF30-3EEB-44C8-794D-96C40DE1A08F}"/>
          </ac:spMkLst>
        </pc:spChg>
        <pc:spChg chg="add mod">
          <ac:chgData name="Schneider, Magnus" userId="e376590a-0cd7-41b2-b0c3-2067402e926d" providerId="ADAL" clId="{9C66300D-B9E5-4635-975C-19C696C9CF78}" dt="2024-02-07T15:38:58.832" v="5741" actId="255"/>
          <ac:spMkLst>
            <pc:docMk/>
            <pc:sldMk cId="3007342323" sldId="390"/>
            <ac:spMk id="23" creationId="{81C03E9A-F747-969B-E343-329C6877C93A}"/>
          </ac:spMkLst>
        </pc:spChg>
        <pc:spChg chg="add mod">
          <ac:chgData name="Schneider, Magnus" userId="e376590a-0cd7-41b2-b0c3-2067402e926d" providerId="ADAL" clId="{9C66300D-B9E5-4635-975C-19C696C9CF78}" dt="2024-02-07T15:38:58.832" v="5741" actId="255"/>
          <ac:spMkLst>
            <pc:docMk/>
            <pc:sldMk cId="3007342323" sldId="390"/>
            <ac:spMk id="25" creationId="{37C4F9F7-A718-3EFA-E3EB-2A8540DF1E60}"/>
          </ac:spMkLst>
        </pc:spChg>
        <pc:picChg chg="del">
          <ac:chgData name="Schneider, Magnus" userId="e376590a-0cd7-41b2-b0c3-2067402e926d" providerId="ADAL" clId="{9C66300D-B9E5-4635-975C-19C696C9CF78}" dt="2024-02-07T09:59:26.887" v="4216" actId="478"/>
          <ac:picMkLst>
            <pc:docMk/>
            <pc:sldMk cId="3007342323" sldId="390"/>
            <ac:picMk id="5" creationId="{BDFEB37F-8F31-7922-FB08-6CC852AA6A73}"/>
          </ac:picMkLst>
        </pc:picChg>
        <pc:picChg chg="add mod">
          <ac:chgData name="Schneider, Magnus" userId="e376590a-0cd7-41b2-b0c3-2067402e926d" providerId="ADAL" clId="{9C66300D-B9E5-4635-975C-19C696C9CF78}" dt="2024-02-07T15:31:02.615" v="5701" actId="1038"/>
          <ac:picMkLst>
            <pc:docMk/>
            <pc:sldMk cId="3007342323" sldId="390"/>
            <ac:picMk id="7" creationId="{29D7B461-9DC6-D8C5-CE19-C471BA132F32}"/>
          </ac:picMkLst>
        </pc:picChg>
        <pc:picChg chg="del">
          <ac:chgData name="Schneider, Magnus" userId="e376590a-0cd7-41b2-b0c3-2067402e926d" providerId="ADAL" clId="{9C66300D-B9E5-4635-975C-19C696C9CF78}" dt="2024-02-07T09:59:26.887" v="4216" actId="478"/>
          <ac:picMkLst>
            <pc:docMk/>
            <pc:sldMk cId="3007342323" sldId="390"/>
            <ac:picMk id="10" creationId="{9D9DE11B-23E5-3340-0BB3-6FFFDFC1226D}"/>
          </ac:picMkLst>
        </pc:picChg>
        <pc:picChg chg="add mod">
          <ac:chgData name="Schneider, Magnus" userId="e376590a-0cd7-41b2-b0c3-2067402e926d" providerId="ADAL" clId="{9C66300D-B9E5-4635-975C-19C696C9CF78}" dt="2024-02-07T15:30:59.605" v="5684" actId="1038"/>
          <ac:picMkLst>
            <pc:docMk/>
            <pc:sldMk cId="3007342323" sldId="390"/>
            <ac:picMk id="12" creationId="{1D35A697-321A-1D07-27ED-CD6074463740}"/>
          </ac:picMkLst>
        </pc:picChg>
        <pc:picChg chg="add mod">
          <ac:chgData name="Schneider, Magnus" userId="e376590a-0cd7-41b2-b0c3-2067402e926d" providerId="ADAL" clId="{9C66300D-B9E5-4635-975C-19C696C9CF78}" dt="2024-02-07T15:31:21.752" v="5705" actId="1076"/>
          <ac:picMkLst>
            <pc:docMk/>
            <pc:sldMk cId="3007342323" sldId="390"/>
            <ac:picMk id="14" creationId="{7087294E-7CB9-40BE-AC6C-739CADDAF3C6}"/>
          </ac:picMkLst>
        </pc:picChg>
        <pc:picChg chg="add mod">
          <ac:chgData name="Schneider, Magnus" userId="e376590a-0cd7-41b2-b0c3-2067402e926d" providerId="ADAL" clId="{9C66300D-B9E5-4635-975C-19C696C9CF78}" dt="2024-02-07T15:31:06.256" v="5702" actId="1076"/>
          <ac:picMkLst>
            <pc:docMk/>
            <pc:sldMk cId="3007342323" sldId="390"/>
            <ac:picMk id="16" creationId="{869A298F-43FF-87CE-3D85-3374F97AEE6E}"/>
          </ac:picMkLst>
        </pc:picChg>
        <pc:picChg chg="del">
          <ac:chgData name="Schneider, Magnus" userId="e376590a-0cd7-41b2-b0c3-2067402e926d" providerId="ADAL" clId="{9C66300D-B9E5-4635-975C-19C696C9CF78}" dt="2024-02-07T09:59:26.887" v="4216" actId="478"/>
          <ac:picMkLst>
            <pc:docMk/>
            <pc:sldMk cId="3007342323" sldId="390"/>
            <ac:picMk id="17" creationId="{17C0936E-F128-F43B-ED83-2B7F1EF55066}"/>
          </ac:picMkLst>
        </pc:picChg>
      </pc:sldChg>
      <pc:sldChg chg="addSp delSp modSp add del mod">
        <pc:chgData name="Schneider, Magnus" userId="e376590a-0cd7-41b2-b0c3-2067402e926d" providerId="ADAL" clId="{9C66300D-B9E5-4635-975C-19C696C9CF78}" dt="2024-02-08T10:25:10.159" v="5780" actId="47"/>
        <pc:sldMkLst>
          <pc:docMk/>
          <pc:sldMk cId="755827042" sldId="391"/>
        </pc:sldMkLst>
        <pc:spChg chg="add del mod">
          <ac:chgData name="Schneider, Magnus" userId="e376590a-0cd7-41b2-b0c3-2067402e926d" providerId="ADAL" clId="{9C66300D-B9E5-4635-975C-19C696C9CF78}" dt="2024-02-07T10:21:28.978" v="4706"/>
          <ac:spMkLst>
            <pc:docMk/>
            <pc:sldMk cId="755827042" sldId="391"/>
            <ac:spMk id="5" creationId="{2D386C4E-58B4-B8A5-B3CE-CBF9E850AB21}"/>
          </ac:spMkLst>
        </pc:spChg>
        <pc:spChg chg="mod">
          <ac:chgData name="Schneider, Magnus" userId="e376590a-0cd7-41b2-b0c3-2067402e926d" providerId="ADAL" clId="{9C66300D-B9E5-4635-975C-19C696C9CF78}" dt="2024-02-07T09:59:57.710" v="4237" actId="20577"/>
          <ac:spMkLst>
            <pc:docMk/>
            <pc:sldMk cId="755827042" sldId="391"/>
            <ac:spMk id="6" creationId="{CE97D582-3303-CD45-32BE-9EEA902C4D64}"/>
          </ac:spMkLst>
        </pc:spChg>
        <pc:spChg chg="add del mod">
          <ac:chgData name="Schneider, Magnus" userId="e376590a-0cd7-41b2-b0c3-2067402e926d" providerId="ADAL" clId="{9C66300D-B9E5-4635-975C-19C696C9CF78}" dt="2024-02-07T10:22:33.960" v="4709"/>
          <ac:spMkLst>
            <pc:docMk/>
            <pc:sldMk cId="755827042" sldId="391"/>
            <ac:spMk id="7" creationId="{47F8A91E-E1FA-254E-CD07-43C0B0C12CF1}"/>
          </ac:spMkLst>
        </pc:spChg>
        <pc:spChg chg="mod">
          <ac:chgData name="Schneider, Magnus" userId="e376590a-0cd7-41b2-b0c3-2067402e926d" providerId="ADAL" clId="{9C66300D-B9E5-4635-975C-19C696C9CF78}" dt="2024-02-07T15:11:11.969" v="5450" actId="20577"/>
          <ac:spMkLst>
            <pc:docMk/>
            <pc:sldMk cId="755827042" sldId="391"/>
            <ac:spMk id="9" creationId="{E5E0D921-9D0A-6960-871A-3D4B304ABAAA}"/>
          </ac:spMkLst>
        </pc:spChg>
        <pc:spChg chg="add mod">
          <ac:chgData name="Schneider, Magnus" userId="e376590a-0cd7-41b2-b0c3-2067402e926d" providerId="ADAL" clId="{9C66300D-B9E5-4635-975C-19C696C9CF78}" dt="2024-02-07T10:30:11.936" v="4946" actId="1076"/>
          <ac:spMkLst>
            <pc:docMk/>
            <pc:sldMk cId="755827042" sldId="391"/>
            <ac:spMk id="10" creationId="{DEDF1A37-9026-81E2-5FFB-43F93329F8E7}"/>
          </ac:spMkLst>
        </pc:spChg>
        <pc:picChg chg="add mod">
          <ac:chgData name="Schneider, Magnus" userId="e376590a-0cd7-41b2-b0c3-2067402e926d" providerId="ADAL" clId="{9C66300D-B9E5-4635-975C-19C696C9CF78}" dt="2024-02-07T14:55:26.092" v="5085" actId="1076"/>
          <ac:picMkLst>
            <pc:docMk/>
            <pc:sldMk cId="755827042" sldId="391"/>
            <ac:picMk id="7" creationId="{3D621C12-B16F-E286-8BAD-65A25ECDABD2}"/>
          </ac:picMkLst>
        </pc:picChg>
        <pc:picChg chg="add mod">
          <ac:chgData name="Schneider, Magnus" userId="e376590a-0cd7-41b2-b0c3-2067402e926d" providerId="ADAL" clId="{9C66300D-B9E5-4635-975C-19C696C9CF78}" dt="2024-02-08T10:21:59.814" v="5745" actId="14826"/>
          <ac:picMkLst>
            <pc:docMk/>
            <pc:sldMk cId="755827042" sldId="391"/>
            <ac:picMk id="13" creationId="{0BA1A4B3-50B9-813A-C7CD-5BC6ABC9E8A1}"/>
          </ac:picMkLst>
        </pc:picChg>
        <pc:picChg chg="add mod">
          <ac:chgData name="Schneider, Magnus" userId="e376590a-0cd7-41b2-b0c3-2067402e926d" providerId="ADAL" clId="{9C66300D-B9E5-4635-975C-19C696C9CF78}" dt="2024-02-07T14:56:38.699" v="5091" actId="1076"/>
          <ac:picMkLst>
            <pc:docMk/>
            <pc:sldMk cId="755827042" sldId="391"/>
            <ac:picMk id="15" creationId="{5C0B7F71-9DA4-9B35-C734-2877BB54A2AE}"/>
          </ac:picMkLst>
        </pc:picChg>
        <pc:picChg chg="add mod">
          <ac:chgData name="Schneider, Magnus" userId="e376590a-0cd7-41b2-b0c3-2067402e926d" providerId="ADAL" clId="{9C66300D-B9E5-4635-975C-19C696C9CF78}" dt="2024-02-07T14:57:28.194" v="5094" actId="1076"/>
          <ac:picMkLst>
            <pc:docMk/>
            <pc:sldMk cId="755827042" sldId="391"/>
            <ac:picMk id="17" creationId="{C495A671-DD5A-2D5E-C030-1E6C5C60AAD0}"/>
          </ac:picMkLst>
        </pc:picChg>
      </pc:sldChg>
      <pc:sldChg chg="modSp del mod">
        <pc:chgData name="Schneider, Magnus" userId="e376590a-0cd7-41b2-b0c3-2067402e926d" providerId="ADAL" clId="{9C66300D-B9E5-4635-975C-19C696C9CF78}" dt="2024-02-07T09:59:39.297" v="4226" actId="2696"/>
        <pc:sldMkLst>
          <pc:docMk/>
          <pc:sldMk cId="1252557889" sldId="391"/>
        </pc:sldMkLst>
        <pc:spChg chg="mod">
          <ac:chgData name="Schneider, Magnus" userId="e376590a-0cd7-41b2-b0c3-2067402e926d" providerId="ADAL" clId="{9C66300D-B9E5-4635-975C-19C696C9CF78}" dt="2024-02-07T09:59:36.560" v="4225" actId="6549"/>
          <ac:spMkLst>
            <pc:docMk/>
            <pc:sldMk cId="1252557889" sldId="391"/>
            <ac:spMk id="12" creationId="{4FDD222E-FF55-8385-ACE2-EAB9298CFB41}"/>
          </ac:spMkLst>
        </pc:spChg>
      </pc:sldChg>
      <pc:sldChg chg="del">
        <pc:chgData name="Schneider, Magnus" userId="e376590a-0cd7-41b2-b0c3-2067402e926d" providerId="ADAL" clId="{9C66300D-B9E5-4635-975C-19C696C9CF78}" dt="2024-02-07T09:59:41.647" v="4227" actId="2696"/>
        <pc:sldMkLst>
          <pc:docMk/>
          <pc:sldMk cId="296096822" sldId="392"/>
        </pc:sldMkLst>
      </pc:sldChg>
      <pc:sldChg chg="addSp delSp modSp add mod">
        <pc:chgData name="Schneider, Magnus" userId="e376590a-0cd7-41b2-b0c3-2067402e926d" providerId="ADAL" clId="{9C66300D-B9E5-4635-975C-19C696C9CF78}" dt="2024-02-08T10:32:23.826" v="5986"/>
        <pc:sldMkLst>
          <pc:docMk/>
          <pc:sldMk cId="4005422959" sldId="392"/>
        </pc:sldMkLst>
        <pc:spChg chg="add mod">
          <ac:chgData name="Schneider, Magnus" userId="e376590a-0cd7-41b2-b0c3-2067402e926d" providerId="ADAL" clId="{9C66300D-B9E5-4635-975C-19C696C9CF78}" dt="2024-02-07T10:31:43.162" v="5023" actId="20577"/>
          <ac:spMkLst>
            <pc:docMk/>
            <pc:sldMk cId="4005422959" sldId="392"/>
            <ac:spMk id="5" creationId="{B6E5FCCD-7336-5F80-0BC7-AF23B54E413F}"/>
          </ac:spMkLst>
        </pc:spChg>
        <pc:spChg chg="mod">
          <ac:chgData name="Schneider, Magnus" userId="e376590a-0cd7-41b2-b0c3-2067402e926d" providerId="ADAL" clId="{9C66300D-B9E5-4635-975C-19C696C9CF78}" dt="2024-02-07T10:00:03.370" v="4251" actId="20577"/>
          <ac:spMkLst>
            <pc:docMk/>
            <pc:sldMk cId="4005422959" sldId="392"/>
            <ac:spMk id="6" creationId="{BA04E2C1-C809-F307-A64E-85334D8C693C}"/>
          </ac:spMkLst>
        </pc:spChg>
        <pc:spChg chg="add del">
          <ac:chgData name="Schneider, Magnus" userId="e376590a-0cd7-41b2-b0c3-2067402e926d" providerId="ADAL" clId="{9C66300D-B9E5-4635-975C-19C696C9CF78}" dt="2024-02-08T10:32:17.670" v="5985" actId="22"/>
          <ac:spMkLst>
            <pc:docMk/>
            <pc:sldMk cId="4005422959" sldId="392"/>
            <ac:spMk id="10" creationId="{B488475F-131D-16EF-BC1C-4F106F539416}"/>
          </ac:spMkLst>
        </pc:spChg>
        <pc:spChg chg="add mod">
          <ac:chgData name="Schneider, Magnus" userId="e376590a-0cd7-41b2-b0c3-2067402e926d" providerId="ADAL" clId="{9C66300D-B9E5-4635-975C-19C696C9CF78}" dt="2024-02-08T10:32:23.826" v="5986"/>
          <ac:spMkLst>
            <pc:docMk/>
            <pc:sldMk cId="4005422959" sldId="392"/>
            <ac:spMk id="12" creationId="{2DF35C17-9AB8-48CB-EE5D-561298C03D31}"/>
          </ac:spMkLst>
        </pc:spChg>
        <pc:spChg chg="del">
          <ac:chgData name="Schneider, Magnus" userId="e376590a-0cd7-41b2-b0c3-2067402e926d" providerId="ADAL" clId="{9C66300D-B9E5-4635-975C-19C696C9CF78}" dt="2024-02-08T10:32:15.515" v="5983" actId="478"/>
          <ac:spMkLst>
            <pc:docMk/>
            <pc:sldMk cId="4005422959" sldId="392"/>
            <ac:spMk id="27" creationId="{B8C2147C-873F-75A1-2D11-B92E38E8CAF0}"/>
          </ac:spMkLst>
        </pc:spChg>
      </pc:sldChg>
      <pc:sldChg chg="addSp delSp modSp add mod modAnim modNotesTx">
        <pc:chgData name="Schneider, Magnus" userId="e376590a-0cd7-41b2-b0c3-2067402e926d" providerId="ADAL" clId="{9C66300D-B9E5-4635-975C-19C696C9CF78}" dt="2024-02-09T08:55:11.926" v="8460" actId="20577"/>
        <pc:sldMkLst>
          <pc:docMk/>
          <pc:sldMk cId="618763114" sldId="393"/>
        </pc:sldMkLst>
        <pc:spChg chg="add mod">
          <ac:chgData name="Schneider, Magnus" userId="e376590a-0cd7-41b2-b0c3-2067402e926d" providerId="ADAL" clId="{9C66300D-B9E5-4635-975C-19C696C9CF78}" dt="2024-02-08T16:43:21.712" v="7290" actId="20577"/>
          <ac:spMkLst>
            <pc:docMk/>
            <pc:sldMk cId="618763114" sldId="393"/>
            <ac:spMk id="5" creationId="{F91F513D-9A7E-9D23-92A7-66BC6977EB0D}"/>
          </ac:spMkLst>
        </pc:spChg>
        <pc:spChg chg="mod">
          <ac:chgData name="Schneider, Magnus" userId="e376590a-0cd7-41b2-b0c3-2067402e926d" providerId="ADAL" clId="{9C66300D-B9E5-4635-975C-19C696C9CF78}" dt="2024-02-08T14:34:43.514" v="6393" actId="20577"/>
          <ac:spMkLst>
            <pc:docMk/>
            <pc:sldMk cId="618763114" sldId="393"/>
            <ac:spMk id="6" creationId="{F8AF7848-C365-4644-9ABC-4C84C66BCA3A}"/>
          </ac:spMkLst>
        </pc:spChg>
        <pc:spChg chg="del mod">
          <ac:chgData name="Schneider, Magnus" userId="e376590a-0cd7-41b2-b0c3-2067402e926d" providerId="ADAL" clId="{9C66300D-B9E5-4635-975C-19C696C9CF78}" dt="2024-02-07T15:11:16.287" v="5451" actId="478"/>
          <ac:spMkLst>
            <pc:docMk/>
            <pc:sldMk cId="618763114" sldId="393"/>
            <ac:spMk id="9" creationId="{3C037E61-AA17-39B3-CF72-1D4A6F07CDC9}"/>
          </ac:spMkLst>
        </pc:spChg>
        <pc:spChg chg="del">
          <ac:chgData name="Schneider, Magnus" userId="e376590a-0cd7-41b2-b0c3-2067402e926d" providerId="ADAL" clId="{9C66300D-B9E5-4635-975C-19C696C9CF78}" dt="2024-02-07T10:49:36.486" v="5025" actId="478"/>
          <ac:spMkLst>
            <pc:docMk/>
            <pc:sldMk cId="618763114" sldId="393"/>
            <ac:spMk id="10" creationId="{FECF7E5A-A803-7729-DC81-D3BDAB60F58C}"/>
          </ac:spMkLst>
        </pc:spChg>
        <pc:spChg chg="add mod">
          <ac:chgData name="Schneider, Magnus" userId="e376590a-0cd7-41b2-b0c3-2067402e926d" providerId="ADAL" clId="{9C66300D-B9E5-4635-975C-19C696C9CF78}" dt="2024-02-07T15:08:34.672" v="5201" actId="207"/>
          <ac:spMkLst>
            <pc:docMk/>
            <pc:sldMk cId="618763114" sldId="393"/>
            <ac:spMk id="12" creationId="{EA967685-162A-09D3-2D21-3C5654933B4A}"/>
          </ac:spMkLst>
        </pc:spChg>
        <pc:spChg chg="add mod">
          <ac:chgData name="Schneider, Magnus" userId="e376590a-0cd7-41b2-b0c3-2067402e926d" providerId="ADAL" clId="{9C66300D-B9E5-4635-975C-19C696C9CF78}" dt="2024-02-07T15:08:52.383" v="5204" actId="207"/>
          <ac:spMkLst>
            <pc:docMk/>
            <pc:sldMk cId="618763114" sldId="393"/>
            <ac:spMk id="13" creationId="{D4442673-433B-1BFD-8BD3-855A8047FAC0}"/>
          </ac:spMkLst>
        </pc:spChg>
        <pc:spChg chg="add del mod">
          <ac:chgData name="Schneider, Magnus" userId="e376590a-0cd7-41b2-b0c3-2067402e926d" providerId="ADAL" clId="{9C66300D-B9E5-4635-975C-19C696C9CF78}" dt="2024-02-07T15:09:37.224" v="5208" actId="478"/>
          <ac:spMkLst>
            <pc:docMk/>
            <pc:sldMk cId="618763114" sldId="393"/>
            <ac:spMk id="15" creationId="{CFCB16B3-3611-27EB-D0B4-26E3884AB361}"/>
          </ac:spMkLst>
        </pc:spChg>
        <pc:spChg chg="add mod">
          <ac:chgData name="Schneider, Magnus" userId="e376590a-0cd7-41b2-b0c3-2067402e926d" providerId="ADAL" clId="{9C66300D-B9E5-4635-975C-19C696C9CF78}" dt="2024-02-07T15:11:41.668" v="5561" actId="20577"/>
          <ac:spMkLst>
            <pc:docMk/>
            <pc:sldMk cId="618763114" sldId="393"/>
            <ac:spMk id="17" creationId="{2A7E1789-8509-7BB9-A13B-9ADDE8837A02}"/>
          </ac:spMkLst>
        </pc:spChg>
        <pc:picChg chg="add mod">
          <ac:chgData name="Schneider, Magnus" userId="e376590a-0cd7-41b2-b0c3-2067402e926d" providerId="ADAL" clId="{9C66300D-B9E5-4635-975C-19C696C9CF78}" dt="2024-02-07T14:59:20.786" v="5124" actId="1076"/>
          <ac:picMkLst>
            <pc:docMk/>
            <pc:sldMk cId="618763114" sldId="393"/>
            <ac:picMk id="10" creationId="{BA862D3D-4018-DBE3-6D42-32A267A6F270}"/>
          </ac:picMkLst>
        </pc:picChg>
      </pc:sldChg>
      <pc:sldChg chg="addSp delSp modSp mod">
        <pc:chgData name="Schneider, Magnus" userId="e376590a-0cd7-41b2-b0c3-2067402e926d" providerId="ADAL" clId="{9C66300D-B9E5-4635-975C-19C696C9CF78}" dt="2024-02-08T10:33:38.233" v="6005"/>
        <pc:sldMkLst>
          <pc:docMk/>
          <pc:sldMk cId="4029309494" sldId="394"/>
        </pc:sldMkLst>
        <pc:spChg chg="add mod">
          <ac:chgData name="Schneider, Magnus" userId="e376590a-0cd7-41b2-b0c3-2067402e926d" providerId="ADAL" clId="{9C66300D-B9E5-4635-975C-19C696C9CF78}" dt="2024-02-08T10:33:38.233" v="6005"/>
          <ac:spMkLst>
            <pc:docMk/>
            <pc:sldMk cId="4029309494" sldId="394"/>
            <ac:spMk id="2" creationId="{12F74AE0-4C80-61E9-4FE7-DA183C6B3C7F}"/>
          </ac:spMkLst>
        </pc:spChg>
        <pc:spChg chg="del">
          <ac:chgData name="Schneider, Magnus" userId="e376590a-0cd7-41b2-b0c3-2067402e926d" providerId="ADAL" clId="{9C66300D-B9E5-4635-975C-19C696C9CF78}" dt="2024-02-08T10:33:37.331" v="6004" actId="478"/>
          <ac:spMkLst>
            <pc:docMk/>
            <pc:sldMk cId="4029309494" sldId="394"/>
            <ac:spMk id="25" creationId="{D5E10F33-46BD-1D4B-FC63-CC07E4DF442D}"/>
          </ac:spMkLst>
        </pc:spChg>
      </pc:sldChg>
      <pc:sldChg chg="addSp delSp modSp mod">
        <pc:chgData name="Schneider, Magnus" userId="e376590a-0cd7-41b2-b0c3-2067402e926d" providerId="ADAL" clId="{9C66300D-B9E5-4635-975C-19C696C9CF78}" dt="2024-02-08T10:33:20.539" v="6003"/>
        <pc:sldMkLst>
          <pc:docMk/>
          <pc:sldMk cId="3772263421" sldId="396"/>
        </pc:sldMkLst>
        <pc:spChg chg="add mod">
          <ac:chgData name="Schneider, Magnus" userId="e376590a-0cd7-41b2-b0c3-2067402e926d" providerId="ADAL" clId="{9C66300D-B9E5-4635-975C-19C696C9CF78}" dt="2024-02-08T10:33:20.539" v="6003"/>
          <ac:spMkLst>
            <pc:docMk/>
            <pc:sldMk cId="3772263421" sldId="396"/>
            <ac:spMk id="2" creationId="{ECDF95D9-A2B0-1C51-59F4-F25049A5BA2D}"/>
          </ac:spMkLst>
        </pc:spChg>
        <pc:spChg chg="del">
          <ac:chgData name="Schneider, Magnus" userId="e376590a-0cd7-41b2-b0c3-2067402e926d" providerId="ADAL" clId="{9C66300D-B9E5-4635-975C-19C696C9CF78}" dt="2024-02-08T10:33:20.191" v="6002" actId="478"/>
          <ac:spMkLst>
            <pc:docMk/>
            <pc:sldMk cId="3772263421" sldId="396"/>
            <ac:spMk id="25" creationId="{7EFBEAB0-E628-F2AE-55C2-050790148DCC}"/>
          </ac:spMkLst>
        </pc:spChg>
      </pc:sldChg>
      <pc:sldChg chg="addSp delSp modSp mod">
        <pc:chgData name="Schneider, Magnus" userId="e376590a-0cd7-41b2-b0c3-2067402e926d" providerId="ADAL" clId="{9C66300D-B9E5-4635-975C-19C696C9CF78}" dt="2024-02-08T10:33:16.130" v="6001"/>
        <pc:sldMkLst>
          <pc:docMk/>
          <pc:sldMk cId="529140509" sldId="397"/>
        </pc:sldMkLst>
        <pc:spChg chg="add mod">
          <ac:chgData name="Schneider, Magnus" userId="e376590a-0cd7-41b2-b0c3-2067402e926d" providerId="ADAL" clId="{9C66300D-B9E5-4635-975C-19C696C9CF78}" dt="2024-02-08T10:33:16.130" v="6001"/>
          <ac:spMkLst>
            <pc:docMk/>
            <pc:sldMk cId="529140509" sldId="397"/>
            <ac:spMk id="2" creationId="{C8672041-9223-1DC6-EA26-A90DB5F0BE42}"/>
          </ac:spMkLst>
        </pc:spChg>
        <pc:spChg chg="del">
          <ac:chgData name="Schneider, Magnus" userId="e376590a-0cd7-41b2-b0c3-2067402e926d" providerId="ADAL" clId="{9C66300D-B9E5-4635-975C-19C696C9CF78}" dt="2024-02-08T10:33:15.409" v="6000" actId="478"/>
          <ac:spMkLst>
            <pc:docMk/>
            <pc:sldMk cId="529140509" sldId="397"/>
            <ac:spMk id="25" creationId="{5FC73E8D-B066-3976-F30B-EEE21FEBED28}"/>
          </ac:spMkLst>
        </pc:spChg>
      </pc:sldChg>
      <pc:sldChg chg="modSp add mod modNotesTx">
        <pc:chgData name="Schneider, Magnus" userId="e376590a-0cd7-41b2-b0c3-2067402e926d" providerId="ADAL" clId="{9C66300D-B9E5-4635-975C-19C696C9CF78}" dt="2024-02-09T08:45:50.354" v="7920" actId="20577"/>
        <pc:sldMkLst>
          <pc:docMk/>
          <pc:sldMk cId="2232333642" sldId="398"/>
        </pc:sldMkLst>
        <pc:spChg chg="mod">
          <ac:chgData name="Schneider, Magnus" userId="e376590a-0cd7-41b2-b0c3-2067402e926d" providerId="ADAL" clId="{9C66300D-B9E5-4635-975C-19C696C9CF78}" dt="2024-02-08T10:24:57.330" v="5778" actId="20577"/>
          <ac:spMkLst>
            <pc:docMk/>
            <pc:sldMk cId="2232333642" sldId="398"/>
            <ac:spMk id="6" creationId="{A15B372E-FD54-F904-B65E-A199D06E4EF6}"/>
          </ac:spMkLst>
        </pc:spChg>
        <pc:spChg chg="mod">
          <ac:chgData name="Schneider, Magnus" userId="e376590a-0cd7-41b2-b0c3-2067402e926d" providerId="ADAL" clId="{9C66300D-B9E5-4635-975C-19C696C9CF78}" dt="2024-02-08T10:25:03.210" v="5779" actId="6549"/>
          <ac:spMkLst>
            <pc:docMk/>
            <pc:sldMk cId="2232333642" sldId="398"/>
            <ac:spMk id="9" creationId="{29A86222-1B6E-85AE-29C5-E9C95C185678}"/>
          </ac:spMkLst>
        </pc:spChg>
        <pc:spChg chg="mod">
          <ac:chgData name="Schneider, Magnus" userId="e376590a-0cd7-41b2-b0c3-2067402e926d" providerId="ADAL" clId="{9C66300D-B9E5-4635-975C-19C696C9CF78}" dt="2024-02-08T10:22:37.624" v="5766" actId="14100"/>
          <ac:spMkLst>
            <pc:docMk/>
            <pc:sldMk cId="2232333642" sldId="398"/>
            <ac:spMk id="18" creationId="{7E9AD10A-F27C-B52E-EED0-BD9F8B328342}"/>
          </ac:spMkLst>
        </pc:spChg>
        <pc:spChg chg="mod">
          <ac:chgData name="Schneider, Magnus" userId="e376590a-0cd7-41b2-b0c3-2067402e926d" providerId="ADAL" clId="{9C66300D-B9E5-4635-975C-19C696C9CF78}" dt="2024-02-08T10:23:14.057" v="5770" actId="113"/>
          <ac:spMkLst>
            <pc:docMk/>
            <pc:sldMk cId="2232333642" sldId="398"/>
            <ac:spMk id="21" creationId="{01F6773C-9FC0-7DE5-CE57-40ECC14A10F9}"/>
          </ac:spMkLst>
        </pc:spChg>
        <pc:spChg chg="mod">
          <ac:chgData name="Schneider, Magnus" userId="e376590a-0cd7-41b2-b0c3-2067402e926d" providerId="ADAL" clId="{9C66300D-B9E5-4635-975C-19C696C9CF78}" dt="2024-02-08T10:23:25.208" v="5772" actId="113"/>
          <ac:spMkLst>
            <pc:docMk/>
            <pc:sldMk cId="2232333642" sldId="398"/>
            <ac:spMk id="23" creationId="{4C89A428-8343-9110-2EB5-369B0E2E3D52}"/>
          </ac:spMkLst>
        </pc:spChg>
        <pc:spChg chg="mod">
          <ac:chgData name="Schneider, Magnus" userId="e376590a-0cd7-41b2-b0c3-2067402e926d" providerId="ADAL" clId="{9C66300D-B9E5-4635-975C-19C696C9CF78}" dt="2024-02-08T10:22:52.701" v="5768" actId="113"/>
          <ac:spMkLst>
            <pc:docMk/>
            <pc:sldMk cId="2232333642" sldId="398"/>
            <ac:spMk id="25" creationId="{981578C6-10A1-B236-8643-BA609B0BDC7A}"/>
          </ac:spMkLst>
        </pc:spChg>
        <pc:picChg chg="mod">
          <ac:chgData name="Schneider, Magnus" userId="e376590a-0cd7-41b2-b0c3-2067402e926d" providerId="ADAL" clId="{9C66300D-B9E5-4635-975C-19C696C9CF78}" dt="2024-02-08T10:21:53.134" v="5743" actId="14826"/>
          <ac:picMkLst>
            <pc:docMk/>
            <pc:sldMk cId="2232333642" sldId="398"/>
            <ac:picMk id="7" creationId="{14D998FF-0E2A-8661-4655-9D8F2D6081B5}"/>
          </ac:picMkLst>
        </pc:picChg>
        <pc:picChg chg="mod">
          <ac:chgData name="Schneider, Magnus" userId="e376590a-0cd7-41b2-b0c3-2067402e926d" providerId="ADAL" clId="{9C66300D-B9E5-4635-975C-19C696C9CF78}" dt="2024-02-08T10:22:05.986" v="5746" actId="14826"/>
          <ac:picMkLst>
            <pc:docMk/>
            <pc:sldMk cId="2232333642" sldId="398"/>
            <ac:picMk id="12" creationId="{506E963C-E877-4BE6-87A3-C8C830CE5581}"/>
          </ac:picMkLst>
        </pc:picChg>
        <pc:picChg chg="mod">
          <ac:chgData name="Schneider, Magnus" userId="e376590a-0cd7-41b2-b0c3-2067402e926d" providerId="ADAL" clId="{9C66300D-B9E5-4635-975C-19C696C9CF78}" dt="2024-02-08T10:22:23.886" v="5748" actId="14826"/>
          <ac:picMkLst>
            <pc:docMk/>
            <pc:sldMk cId="2232333642" sldId="398"/>
            <ac:picMk id="14" creationId="{55857AF6-E0DA-3062-F80A-47C5D13DE4ED}"/>
          </ac:picMkLst>
        </pc:picChg>
        <pc:picChg chg="mod">
          <ac:chgData name="Schneider, Magnus" userId="e376590a-0cd7-41b2-b0c3-2067402e926d" providerId="ADAL" clId="{9C66300D-B9E5-4635-975C-19C696C9CF78}" dt="2024-02-08T10:22:15.242" v="5747" actId="14826"/>
          <ac:picMkLst>
            <pc:docMk/>
            <pc:sldMk cId="2232333642" sldId="398"/>
            <ac:picMk id="16" creationId="{A215968D-28AC-4ED2-37A2-4839BB41BBBA}"/>
          </ac:picMkLst>
        </pc:picChg>
      </pc:sldChg>
      <pc:sldChg chg="modSp new mod ord">
        <pc:chgData name="Schneider, Magnus" userId="e376590a-0cd7-41b2-b0c3-2067402e926d" providerId="ADAL" clId="{9C66300D-B9E5-4635-975C-19C696C9CF78}" dt="2024-02-08T10:40:57.534" v="6224"/>
        <pc:sldMkLst>
          <pc:docMk/>
          <pc:sldMk cId="3949157546" sldId="399"/>
        </pc:sldMkLst>
        <pc:spChg chg="mod">
          <ac:chgData name="Schneider, Magnus" userId="e376590a-0cd7-41b2-b0c3-2067402e926d" providerId="ADAL" clId="{9C66300D-B9E5-4635-975C-19C696C9CF78}" dt="2024-02-08T10:40:53.025" v="6222" actId="20577"/>
          <ac:spMkLst>
            <pc:docMk/>
            <pc:sldMk cId="3949157546" sldId="399"/>
            <ac:spMk id="2" creationId="{D0DB4E09-898C-19F7-095B-8EAFC2926681}"/>
          </ac:spMkLst>
        </pc:spChg>
      </pc:sldChg>
      <pc:sldChg chg="modSp new mod">
        <pc:chgData name="Schneider, Magnus" userId="e376590a-0cd7-41b2-b0c3-2067402e926d" providerId="ADAL" clId="{9C66300D-B9E5-4635-975C-19C696C9CF78}" dt="2024-02-08T10:41:10.687" v="6242" actId="20577"/>
        <pc:sldMkLst>
          <pc:docMk/>
          <pc:sldMk cId="397875391" sldId="400"/>
        </pc:sldMkLst>
        <pc:spChg chg="mod">
          <ac:chgData name="Schneider, Magnus" userId="e376590a-0cd7-41b2-b0c3-2067402e926d" providerId="ADAL" clId="{9C66300D-B9E5-4635-975C-19C696C9CF78}" dt="2024-02-08T10:41:10.687" v="6242" actId="20577"/>
          <ac:spMkLst>
            <pc:docMk/>
            <pc:sldMk cId="397875391" sldId="400"/>
            <ac:spMk id="2" creationId="{80C3A844-F577-529C-058F-4FEB12991E75}"/>
          </ac:spMkLst>
        </pc:spChg>
      </pc:sldChg>
      <pc:sldChg chg="new del">
        <pc:chgData name="Schneider, Magnus" userId="e376590a-0cd7-41b2-b0c3-2067402e926d" providerId="ADAL" clId="{9C66300D-B9E5-4635-975C-19C696C9CF78}" dt="2024-02-08T10:42:50.428" v="6244" actId="47"/>
        <pc:sldMkLst>
          <pc:docMk/>
          <pc:sldMk cId="2809103765" sldId="401"/>
        </pc:sldMkLst>
      </pc:sldChg>
      <pc:sldChg chg="modSp new mod">
        <pc:chgData name="Schneider, Magnus" userId="e376590a-0cd7-41b2-b0c3-2067402e926d" providerId="ADAL" clId="{9C66300D-B9E5-4635-975C-19C696C9CF78}" dt="2024-02-08T10:43:01.979" v="6262" actId="20577"/>
        <pc:sldMkLst>
          <pc:docMk/>
          <pc:sldMk cId="3357619268" sldId="401"/>
        </pc:sldMkLst>
        <pc:spChg chg="mod">
          <ac:chgData name="Schneider, Magnus" userId="e376590a-0cd7-41b2-b0c3-2067402e926d" providerId="ADAL" clId="{9C66300D-B9E5-4635-975C-19C696C9CF78}" dt="2024-02-08T10:43:01.979" v="6262" actId="20577"/>
          <ac:spMkLst>
            <pc:docMk/>
            <pc:sldMk cId="3357619268" sldId="401"/>
            <ac:spMk id="2" creationId="{40196517-285B-3ED8-C1C6-C247863C2AEC}"/>
          </ac:spMkLst>
        </pc:spChg>
      </pc:sldChg>
    </pc:docChg>
  </pc:docChgLst>
  <pc:docChgLst>
    <pc:chgData name="Jobst, Hanna" userId="S::ij08ydiq@fauad.fau.de::e86661fe-1388-4b75-a8f7-53b9f30bf181" providerId="AD" clId="Web-{CC6EEB88-AD82-404D-AB1A-ABC8A6538739}"/>
    <pc:docChg chg="modSld">
      <pc:chgData name="Jobst, Hanna" userId="S::ij08ydiq@fauad.fau.de::e86661fe-1388-4b75-a8f7-53b9f30bf181" providerId="AD" clId="Web-{CC6EEB88-AD82-404D-AB1A-ABC8A6538739}" dt="2024-01-05T09:24:24.013" v="1" actId="20577"/>
      <pc:docMkLst>
        <pc:docMk/>
      </pc:docMkLst>
      <pc:sldChg chg="modSp">
        <pc:chgData name="Jobst, Hanna" userId="S::ij08ydiq@fauad.fau.de::e86661fe-1388-4b75-a8f7-53b9f30bf181" providerId="AD" clId="Web-{CC6EEB88-AD82-404D-AB1A-ABC8A6538739}" dt="2024-01-05T09:24:24.013" v="1" actId="20577"/>
        <pc:sldMkLst>
          <pc:docMk/>
          <pc:sldMk cId="3856579613" sldId="308"/>
        </pc:sldMkLst>
        <pc:spChg chg="mod">
          <ac:chgData name="Jobst, Hanna" userId="S::ij08ydiq@fauad.fau.de::e86661fe-1388-4b75-a8f7-53b9f30bf181" providerId="AD" clId="Web-{CC6EEB88-AD82-404D-AB1A-ABC8A6538739}" dt="2024-01-05T09:24:24.013" v="1" actId="20577"/>
          <ac:spMkLst>
            <pc:docMk/>
            <pc:sldMk cId="3856579613" sldId="308"/>
            <ac:spMk id="4" creationId="{4F67DDAB-A029-4F51-840C-C39A868CCDB6}"/>
          </ac:spMkLst>
        </pc:spChg>
      </pc:sldChg>
    </pc:docChg>
  </pc:docChgLst>
  <pc:docChgLst>
    <pc:chgData name="Jobst, Hanna" userId="S::ij08ydiq@fauad.fau.de::e86661fe-1388-4b75-a8f7-53b9f30bf181" providerId="AD" clId="Web-{9A8F290D-029A-47CC-ABDE-ADF15C3CA1BB}"/>
    <pc:docChg chg="modSld">
      <pc:chgData name="Jobst, Hanna" userId="S::ij08ydiq@fauad.fau.de::e86661fe-1388-4b75-a8f7-53b9f30bf181" providerId="AD" clId="Web-{9A8F290D-029A-47CC-ABDE-ADF15C3CA1BB}" dt="2024-01-05T09:23:11.869" v="61"/>
      <pc:docMkLst>
        <pc:docMk/>
      </pc:docMkLst>
      <pc:sldChg chg="addSp delSp modSp">
        <pc:chgData name="Jobst, Hanna" userId="S::ij08ydiq@fauad.fau.de::e86661fe-1388-4b75-a8f7-53b9f30bf181" providerId="AD" clId="Web-{9A8F290D-029A-47CC-ABDE-ADF15C3CA1BB}" dt="2024-01-05T09:23:11.869" v="61"/>
        <pc:sldMkLst>
          <pc:docMk/>
          <pc:sldMk cId="2684686047" sldId="346"/>
        </pc:sldMkLst>
        <pc:spChg chg="add del">
          <ac:chgData name="Jobst, Hanna" userId="S::ij08ydiq@fauad.fau.de::e86661fe-1388-4b75-a8f7-53b9f30bf181" providerId="AD" clId="Web-{9A8F290D-029A-47CC-ABDE-ADF15C3CA1BB}" dt="2024-01-05T09:23:11.869" v="55"/>
          <ac:spMkLst>
            <pc:docMk/>
            <pc:sldMk cId="2684686047" sldId="346"/>
            <ac:spMk id="5" creationId="{C714FC84-1712-3A26-0E17-82B784CAE5F7}"/>
          </ac:spMkLst>
        </pc:spChg>
        <pc:spChg chg="add del">
          <ac:chgData name="Jobst, Hanna" userId="S::ij08ydiq@fauad.fau.de::e86661fe-1388-4b75-a8f7-53b9f30bf181" providerId="AD" clId="Web-{9A8F290D-029A-47CC-ABDE-ADF15C3CA1BB}" dt="2024-01-05T09:23:11.869" v="59"/>
          <ac:spMkLst>
            <pc:docMk/>
            <pc:sldMk cId="2684686047" sldId="346"/>
            <ac:spMk id="7" creationId="{4B136054-4DEF-290A-6380-27916CE60F9E}"/>
          </ac:spMkLst>
        </pc:spChg>
        <pc:spChg chg="add del">
          <ac:chgData name="Jobst, Hanna" userId="S::ij08ydiq@fauad.fau.de::e86661fe-1388-4b75-a8f7-53b9f30bf181" providerId="AD" clId="Web-{9A8F290D-029A-47CC-ABDE-ADF15C3CA1BB}" dt="2024-01-05T09:23:11.869" v="60"/>
          <ac:spMkLst>
            <pc:docMk/>
            <pc:sldMk cId="2684686047" sldId="346"/>
            <ac:spMk id="10" creationId="{3D0DD344-2871-952B-2F30-ED07FB33D437}"/>
          </ac:spMkLst>
        </pc:spChg>
        <pc:spChg chg="add del">
          <ac:chgData name="Jobst, Hanna" userId="S::ij08ydiq@fauad.fau.de::e86661fe-1388-4b75-a8f7-53b9f30bf181" providerId="AD" clId="Web-{9A8F290D-029A-47CC-ABDE-ADF15C3CA1BB}" dt="2024-01-05T09:23:11.869" v="61"/>
          <ac:spMkLst>
            <pc:docMk/>
            <pc:sldMk cId="2684686047" sldId="346"/>
            <ac:spMk id="12" creationId="{FD7DBE3A-A2A3-A0D5-5A4A-D5E4B034EA39}"/>
          </ac:spMkLst>
        </pc:spChg>
        <pc:spChg chg="add del mod">
          <ac:chgData name="Jobst, Hanna" userId="S::ij08ydiq@fauad.fau.de::e86661fe-1388-4b75-a8f7-53b9f30bf181" providerId="AD" clId="Web-{9A8F290D-029A-47CC-ABDE-ADF15C3CA1BB}" dt="2024-01-05T09:22:40.805" v="7"/>
          <ac:spMkLst>
            <pc:docMk/>
            <pc:sldMk cId="2684686047" sldId="346"/>
            <ac:spMk id="14" creationId="{9E8C86B0-9854-E8D7-148D-CD5AC1166016}"/>
          </ac:spMkLst>
        </pc:spChg>
        <pc:spChg chg="add del">
          <ac:chgData name="Jobst, Hanna" userId="S::ij08ydiq@fauad.fau.de::e86661fe-1388-4b75-a8f7-53b9f30bf181" providerId="AD" clId="Web-{9A8F290D-029A-47CC-ABDE-ADF15C3CA1BB}" dt="2024-01-05T09:23:11.869" v="56"/>
          <ac:spMkLst>
            <pc:docMk/>
            <pc:sldMk cId="2684686047" sldId="346"/>
            <ac:spMk id="15" creationId="{5564A98E-4DC7-7491-CE4F-6D9B04DAB635}"/>
          </ac:spMkLst>
        </pc:spChg>
        <pc:spChg chg="add del">
          <ac:chgData name="Jobst, Hanna" userId="S::ij08ydiq@fauad.fau.de::e86661fe-1388-4b75-a8f7-53b9f30bf181" providerId="AD" clId="Web-{9A8F290D-029A-47CC-ABDE-ADF15C3CA1BB}" dt="2024-01-05T09:23:11.869" v="57"/>
          <ac:spMkLst>
            <pc:docMk/>
            <pc:sldMk cId="2684686047" sldId="346"/>
            <ac:spMk id="16" creationId="{9FDA23CE-E069-F92D-4860-AE323CFDA36E}"/>
          </ac:spMkLst>
        </pc:spChg>
        <pc:spChg chg="add del">
          <ac:chgData name="Jobst, Hanna" userId="S::ij08ydiq@fauad.fau.de::e86661fe-1388-4b75-a8f7-53b9f30bf181" providerId="AD" clId="Web-{9A8F290D-029A-47CC-ABDE-ADF15C3CA1BB}" dt="2024-01-05T09:23:11.869" v="58"/>
          <ac:spMkLst>
            <pc:docMk/>
            <pc:sldMk cId="2684686047" sldId="346"/>
            <ac:spMk id="17" creationId="{29795C63-8706-398F-9308-630C698D2601}"/>
          </ac:spMkLst>
        </pc:spChg>
        <pc:spChg chg="add del mod">
          <ac:chgData name="Jobst, Hanna" userId="S::ij08ydiq@fauad.fau.de::e86661fe-1388-4b75-a8f7-53b9f30bf181" providerId="AD" clId="Web-{9A8F290D-029A-47CC-ABDE-ADF15C3CA1BB}" dt="2024-01-05T09:23:11.869" v="55"/>
          <ac:spMkLst>
            <pc:docMk/>
            <pc:sldMk cId="2684686047" sldId="346"/>
            <ac:spMk id="19" creationId="{8D061CDD-6D6F-F6F7-7093-2F8570701AD1}"/>
          </ac:spMkLst>
        </pc:spChg>
      </pc:sldChg>
    </pc:docChg>
  </pc:docChgLst>
  <pc:docChgLst>
    <pc:chgData name="Jobst, Hanna" userId="e86661fe-1388-4b75-a8f7-53b9f30bf181" providerId="ADAL" clId="{9EBA97F5-AA3D-A24B-BFAD-BF478EA5639D}"/>
    <pc:docChg chg="undo custSel addSld delSld modSld sldOrd replTag">
      <pc:chgData name="Jobst, Hanna" userId="e86661fe-1388-4b75-a8f7-53b9f30bf181" providerId="ADAL" clId="{9EBA97F5-AA3D-A24B-BFAD-BF478EA5639D}" dt="2024-02-08T17:10:03.186" v="6898" actId="20577"/>
      <pc:docMkLst>
        <pc:docMk/>
      </pc:docMkLst>
      <pc:sldChg chg="addSp modSp mod">
        <pc:chgData name="Jobst, Hanna" userId="e86661fe-1388-4b75-a8f7-53b9f30bf181" providerId="ADAL" clId="{9EBA97F5-AA3D-A24B-BFAD-BF478EA5639D}" dt="2024-02-08T17:10:03.186" v="6898" actId="20577"/>
        <pc:sldMkLst>
          <pc:docMk/>
          <pc:sldMk cId="3856579613" sldId="308"/>
        </pc:sldMkLst>
        <pc:spChg chg="mod">
          <ac:chgData name="Jobst, Hanna" userId="e86661fe-1388-4b75-a8f7-53b9f30bf181" providerId="ADAL" clId="{9EBA97F5-AA3D-A24B-BFAD-BF478EA5639D}" dt="2024-02-08T17:09:44.863" v="6886" actId="948"/>
          <ac:spMkLst>
            <pc:docMk/>
            <pc:sldMk cId="3856579613" sldId="308"/>
            <ac:spMk id="4" creationId="{4F67DDAB-A029-4F51-840C-C39A868CCDB6}"/>
          </ac:spMkLst>
        </pc:spChg>
        <pc:spChg chg="add mod">
          <ac:chgData name="Jobst, Hanna" userId="e86661fe-1388-4b75-a8f7-53b9f30bf181" providerId="ADAL" clId="{9EBA97F5-AA3D-A24B-BFAD-BF478EA5639D}" dt="2024-02-08T17:10:03.186" v="6898" actId="20577"/>
          <ac:spMkLst>
            <pc:docMk/>
            <pc:sldMk cId="3856579613" sldId="308"/>
            <ac:spMk id="5" creationId="{013F0CCE-50E8-B30D-7570-53B915932654}"/>
          </ac:spMkLst>
        </pc:spChg>
        <pc:graphicFrameChg chg="mod">
          <ac:chgData name="Jobst, Hanna" userId="e86661fe-1388-4b75-a8f7-53b9f30bf181" providerId="ADAL" clId="{9EBA97F5-AA3D-A24B-BFAD-BF478EA5639D}" dt="2024-02-08T17:09:44.870" v="6890"/>
          <ac:graphicFrameMkLst>
            <pc:docMk/>
            <pc:sldMk cId="3856579613" sldId="308"/>
            <ac:graphicFrameMk id="3" creationId="{877D8ABE-A3BC-83EB-5C4C-C868F2AA5CA1}"/>
          </ac:graphicFrameMkLst>
        </pc:graphicFrameChg>
      </pc:sldChg>
      <pc:sldChg chg="modSp mod modNotesTx">
        <pc:chgData name="Jobst, Hanna" userId="e86661fe-1388-4b75-a8f7-53b9f30bf181" providerId="ADAL" clId="{9EBA97F5-AA3D-A24B-BFAD-BF478EA5639D}" dt="2024-02-08T14:25:19.507" v="6198" actId="20577"/>
        <pc:sldMkLst>
          <pc:docMk/>
          <pc:sldMk cId="1901641961" sldId="333"/>
        </pc:sldMkLst>
        <pc:spChg chg="mod">
          <ac:chgData name="Jobst, Hanna" userId="e86661fe-1388-4b75-a8f7-53b9f30bf181" providerId="ADAL" clId="{9EBA97F5-AA3D-A24B-BFAD-BF478EA5639D}" dt="2024-02-08T14:22:54.165" v="6196" actId="20577"/>
          <ac:spMkLst>
            <pc:docMk/>
            <pc:sldMk cId="1901641961" sldId="333"/>
            <ac:spMk id="12" creationId="{6F721586-3090-4DCB-A125-5B6AC19992E5}"/>
          </ac:spMkLst>
        </pc:spChg>
      </pc:sldChg>
      <pc:sldChg chg="addSp delSp modSp mod ord modNotesTx">
        <pc:chgData name="Jobst, Hanna" userId="e86661fe-1388-4b75-a8f7-53b9f30bf181" providerId="ADAL" clId="{9EBA97F5-AA3D-A24B-BFAD-BF478EA5639D}" dt="2024-02-08T15:00:52.142" v="6401" actId="1038"/>
        <pc:sldMkLst>
          <pc:docMk/>
          <pc:sldMk cId="2684686047" sldId="346"/>
        </pc:sldMkLst>
        <pc:spChg chg="del">
          <ac:chgData name="Jobst, Hanna" userId="e86661fe-1388-4b75-a8f7-53b9f30bf181" providerId="ADAL" clId="{9EBA97F5-AA3D-A24B-BFAD-BF478EA5639D}" dt="2024-02-08T08:57:22.040" v="2523" actId="478"/>
          <ac:spMkLst>
            <pc:docMk/>
            <pc:sldMk cId="2684686047" sldId="346"/>
            <ac:spMk id="2" creationId="{E783DCD0-5EBA-FDA0-3C85-771616BA6C0B}"/>
          </ac:spMkLst>
        </pc:spChg>
        <pc:spChg chg="mod">
          <ac:chgData name="Jobst, Hanna" userId="e86661fe-1388-4b75-a8f7-53b9f30bf181" providerId="ADAL" clId="{9EBA97F5-AA3D-A24B-BFAD-BF478EA5639D}" dt="2024-02-04T13:13:35.492" v="887" actId="1076"/>
          <ac:spMkLst>
            <pc:docMk/>
            <pc:sldMk cId="2684686047" sldId="346"/>
            <ac:spMk id="3" creationId="{7F150D79-2652-85A4-36C4-FB0874C5F404}"/>
          </ac:spMkLst>
        </pc:spChg>
        <pc:spChg chg="mod">
          <ac:chgData name="Jobst, Hanna" userId="e86661fe-1388-4b75-a8f7-53b9f30bf181" providerId="ADAL" clId="{9EBA97F5-AA3D-A24B-BFAD-BF478EA5639D}" dt="2024-02-04T13:08:30.153" v="745" actId="14100"/>
          <ac:spMkLst>
            <pc:docMk/>
            <pc:sldMk cId="2684686047" sldId="346"/>
            <ac:spMk id="5" creationId="{C714FC84-1712-3A26-0E17-82B784CAE5F7}"/>
          </ac:spMkLst>
        </pc:spChg>
        <pc:spChg chg="mod">
          <ac:chgData name="Jobst, Hanna" userId="e86661fe-1388-4b75-a8f7-53b9f30bf181" providerId="ADAL" clId="{9EBA97F5-AA3D-A24B-BFAD-BF478EA5639D}" dt="2024-02-08T13:32:56.076" v="4104" actId="948"/>
          <ac:spMkLst>
            <pc:docMk/>
            <pc:sldMk cId="2684686047" sldId="346"/>
            <ac:spMk id="6" creationId="{B2F91D58-FAC4-ADAB-1F11-88D6E7B7C85C}"/>
          </ac:spMkLst>
        </pc:spChg>
        <pc:spChg chg="del">
          <ac:chgData name="Jobst, Hanna" userId="e86661fe-1388-4b75-a8f7-53b9f30bf181" providerId="ADAL" clId="{9EBA97F5-AA3D-A24B-BFAD-BF478EA5639D}" dt="2024-02-08T13:51:35.391" v="5056" actId="478"/>
          <ac:spMkLst>
            <pc:docMk/>
            <pc:sldMk cId="2684686047" sldId="346"/>
            <ac:spMk id="7" creationId="{E6886542-AE46-1682-CBBB-CEC6C99C42F3}"/>
          </ac:spMkLst>
        </pc:spChg>
        <pc:spChg chg="add del mod modVis">
          <ac:chgData name="Jobst, Hanna" userId="e86661fe-1388-4b75-a8f7-53b9f30bf181" providerId="ADAL" clId="{9EBA97F5-AA3D-A24B-BFAD-BF478EA5639D}" dt="2024-02-07T18:54:38.802" v="2235"/>
          <ac:spMkLst>
            <pc:docMk/>
            <pc:sldMk cId="2684686047" sldId="346"/>
            <ac:spMk id="7" creationId="{EC06D3D9-2B78-EB4D-8973-46CBFC002206}"/>
          </ac:spMkLst>
        </pc:spChg>
        <pc:spChg chg="mod">
          <ac:chgData name="Jobst, Hanna" userId="e86661fe-1388-4b75-a8f7-53b9f30bf181" providerId="ADAL" clId="{9EBA97F5-AA3D-A24B-BFAD-BF478EA5639D}" dt="2024-02-08T13:21:56.685" v="3954"/>
          <ac:spMkLst>
            <pc:docMk/>
            <pc:sldMk cId="2684686047" sldId="346"/>
            <ac:spMk id="12" creationId="{CFD3B061-3571-4FF6-94D7-13B0060D9BF2}"/>
          </ac:spMkLst>
        </pc:spChg>
        <pc:spChg chg="add del mod modVis">
          <ac:chgData name="Jobst, Hanna" userId="e86661fe-1388-4b75-a8f7-53b9f30bf181" providerId="ADAL" clId="{9EBA97F5-AA3D-A24B-BFAD-BF478EA5639D}" dt="2024-02-07T18:54:41.771" v="2275"/>
          <ac:spMkLst>
            <pc:docMk/>
            <pc:sldMk cId="2684686047" sldId="346"/>
            <ac:spMk id="13" creationId="{CB4FC059-24A7-F15A-4CF2-D09072DDA170}"/>
          </ac:spMkLst>
        </pc:spChg>
        <pc:spChg chg="mod">
          <ac:chgData name="Jobst, Hanna" userId="e86661fe-1388-4b75-a8f7-53b9f30bf181" providerId="ADAL" clId="{9EBA97F5-AA3D-A24B-BFAD-BF478EA5639D}" dt="2024-02-08T15:00:35.274" v="6388" actId="1076"/>
          <ac:spMkLst>
            <pc:docMk/>
            <pc:sldMk cId="2684686047" sldId="346"/>
            <ac:spMk id="14" creationId="{B2AC7412-8DCC-3CCE-9562-9544FCDABB55}"/>
          </ac:spMkLst>
        </pc:spChg>
        <pc:spChg chg="add del mod modVis">
          <ac:chgData name="Jobst, Hanna" userId="e86661fe-1388-4b75-a8f7-53b9f30bf181" providerId="ADAL" clId="{9EBA97F5-AA3D-A24B-BFAD-BF478EA5639D}" dt="2024-02-07T18:54:43.107" v="2308"/>
          <ac:spMkLst>
            <pc:docMk/>
            <pc:sldMk cId="2684686047" sldId="346"/>
            <ac:spMk id="15" creationId="{9BE7E959-4308-50C6-A949-4184F5B802C8}"/>
          </ac:spMkLst>
        </pc:spChg>
        <pc:spChg chg="mod">
          <ac:chgData name="Jobst, Hanna" userId="e86661fe-1388-4b75-a8f7-53b9f30bf181" providerId="ADAL" clId="{9EBA97F5-AA3D-A24B-BFAD-BF478EA5639D}" dt="2024-02-08T14:05:57.032" v="5575" actId="20577"/>
          <ac:spMkLst>
            <pc:docMk/>
            <pc:sldMk cId="2684686047" sldId="346"/>
            <ac:spMk id="16" creationId="{F68DDE2E-8CF7-DB9C-7570-155318E11CF2}"/>
          </ac:spMkLst>
        </pc:spChg>
        <pc:spChg chg="add del mod modVis">
          <ac:chgData name="Jobst, Hanna" userId="e86661fe-1388-4b75-a8f7-53b9f30bf181" providerId="ADAL" clId="{9EBA97F5-AA3D-A24B-BFAD-BF478EA5639D}" dt="2024-02-07T18:54:44.736" v="2338"/>
          <ac:spMkLst>
            <pc:docMk/>
            <pc:sldMk cId="2684686047" sldId="346"/>
            <ac:spMk id="17" creationId="{77D4462A-01AD-7D85-B6BD-E10A6BB5C1D9}"/>
          </ac:spMkLst>
        </pc:spChg>
        <pc:spChg chg="mod">
          <ac:chgData name="Jobst, Hanna" userId="e86661fe-1388-4b75-a8f7-53b9f30bf181" providerId="ADAL" clId="{9EBA97F5-AA3D-A24B-BFAD-BF478EA5639D}" dt="2024-02-08T15:00:52.142" v="6401" actId="1038"/>
          <ac:spMkLst>
            <pc:docMk/>
            <pc:sldMk cId="2684686047" sldId="346"/>
            <ac:spMk id="18" creationId="{8F6B6B22-B722-14E7-EF83-4D4BC82F4DB0}"/>
          </ac:spMkLst>
        </pc:spChg>
        <pc:spChg chg="add del mod modVis">
          <ac:chgData name="Jobst, Hanna" userId="e86661fe-1388-4b75-a8f7-53b9f30bf181" providerId="ADAL" clId="{9EBA97F5-AA3D-A24B-BFAD-BF478EA5639D}" dt="2024-02-07T18:54:48.020" v="2374"/>
          <ac:spMkLst>
            <pc:docMk/>
            <pc:sldMk cId="2684686047" sldId="346"/>
            <ac:spMk id="21" creationId="{389854F1-6012-AF34-F5F8-E69E6A535B78}"/>
          </ac:spMkLst>
        </pc:spChg>
        <pc:spChg chg="add del mod modVis">
          <ac:chgData name="Jobst, Hanna" userId="e86661fe-1388-4b75-a8f7-53b9f30bf181" providerId="ADAL" clId="{9EBA97F5-AA3D-A24B-BFAD-BF478EA5639D}" dt="2024-02-07T18:54:50.256" v="2409"/>
          <ac:spMkLst>
            <pc:docMk/>
            <pc:sldMk cId="2684686047" sldId="346"/>
            <ac:spMk id="23" creationId="{3E99C7EA-1D91-396F-55F6-EB64061E7A03}"/>
          </ac:spMkLst>
        </pc:spChg>
        <pc:spChg chg="add del mod modVis">
          <ac:chgData name="Jobst, Hanna" userId="e86661fe-1388-4b75-a8f7-53b9f30bf181" providerId="ADAL" clId="{9EBA97F5-AA3D-A24B-BFAD-BF478EA5639D}" dt="2024-02-07T18:54:52.988" v="2437"/>
          <ac:spMkLst>
            <pc:docMk/>
            <pc:sldMk cId="2684686047" sldId="346"/>
            <ac:spMk id="24" creationId="{01DE1715-B273-DE38-9537-25B3AE6AE4E8}"/>
          </ac:spMkLst>
        </pc:spChg>
        <pc:spChg chg="add mod">
          <ac:chgData name="Jobst, Hanna" userId="e86661fe-1388-4b75-a8f7-53b9f30bf181" providerId="ADAL" clId="{9EBA97F5-AA3D-A24B-BFAD-BF478EA5639D}" dt="2024-02-08T08:57:20.137" v="2522"/>
          <ac:spMkLst>
            <pc:docMk/>
            <pc:sldMk cId="2684686047" sldId="346"/>
            <ac:spMk id="25" creationId="{582EB9A3-A3A0-E35C-D6BB-92EBC9FE822A}"/>
          </ac:spMkLst>
        </pc:spChg>
        <pc:spChg chg="add del mod">
          <ac:chgData name="Jobst, Hanna" userId="e86661fe-1388-4b75-a8f7-53b9f30bf181" providerId="ADAL" clId="{9EBA97F5-AA3D-A24B-BFAD-BF478EA5639D}" dt="2024-02-08T13:32:57.368" v="4132"/>
          <ac:spMkLst>
            <pc:docMk/>
            <pc:sldMk cId="2684686047" sldId="346"/>
            <ac:spMk id="26" creationId="{A0B870AF-9D2D-FAD0-8147-1FB933F20E47}"/>
          </ac:spMkLst>
        </pc:spChg>
        <pc:spChg chg="add del mod modVis">
          <ac:chgData name="Jobst, Hanna" userId="e86661fe-1388-4b75-a8f7-53b9f30bf181" providerId="ADAL" clId="{9EBA97F5-AA3D-A24B-BFAD-BF478EA5639D}" dt="2024-02-08T13:32:56.123" v="4128"/>
          <ac:spMkLst>
            <pc:docMk/>
            <pc:sldMk cId="2684686047" sldId="346"/>
            <ac:spMk id="27" creationId="{02F18095-1341-F0C4-6094-22F802421D1A}"/>
          </ac:spMkLst>
        </pc:spChg>
        <pc:spChg chg="add mod">
          <ac:chgData name="Jobst, Hanna" userId="e86661fe-1388-4b75-a8f7-53b9f30bf181" providerId="ADAL" clId="{9EBA97F5-AA3D-A24B-BFAD-BF478EA5639D}" dt="2024-02-08T13:51:35.846" v="5057"/>
          <ac:spMkLst>
            <pc:docMk/>
            <pc:sldMk cId="2684686047" sldId="346"/>
            <ac:spMk id="28" creationId="{5C281F4C-C943-852B-8082-3D1B7AAD854E}"/>
          </ac:spMkLst>
        </pc:spChg>
        <pc:graphicFrameChg chg="mod">
          <ac:chgData name="Jobst, Hanna" userId="e86661fe-1388-4b75-a8f7-53b9f30bf181" providerId="ADAL" clId="{9EBA97F5-AA3D-A24B-BFAD-BF478EA5639D}" dt="2024-02-08T13:32:56.127" v="4130"/>
          <ac:graphicFrameMkLst>
            <pc:docMk/>
            <pc:sldMk cId="2684686047" sldId="346"/>
            <ac:graphicFrameMk id="11" creationId="{6C08FDBF-3D2E-4D39-DD7B-9BE12FD4BAC6}"/>
          </ac:graphicFrameMkLst>
        </pc:graphicFrameChg>
        <pc:picChg chg="mod">
          <ac:chgData name="Jobst, Hanna" userId="e86661fe-1388-4b75-a8f7-53b9f30bf181" providerId="ADAL" clId="{9EBA97F5-AA3D-A24B-BFAD-BF478EA5639D}" dt="2024-02-08T13:21:56.685" v="3954"/>
          <ac:picMkLst>
            <pc:docMk/>
            <pc:sldMk cId="2684686047" sldId="346"/>
            <ac:picMk id="10" creationId="{CC7E869C-52C1-3DAF-0EE7-3B1DCFDBA721}"/>
          </ac:picMkLst>
        </pc:picChg>
        <pc:picChg chg="mod">
          <ac:chgData name="Jobst, Hanna" userId="e86661fe-1388-4b75-a8f7-53b9f30bf181" providerId="ADAL" clId="{9EBA97F5-AA3D-A24B-BFAD-BF478EA5639D}" dt="2024-02-08T13:21:56.685" v="3954"/>
          <ac:picMkLst>
            <pc:docMk/>
            <pc:sldMk cId="2684686047" sldId="346"/>
            <ac:picMk id="19" creationId="{B2B04A4D-95CC-39E1-DAD5-4976D7A8BF6D}"/>
          </ac:picMkLst>
        </pc:picChg>
        <pc:picChg chg="mod">
          <ac:chgData name="Jobst, Hanna" userId="e86661fe-1388-4b75-a8f7-53b9f30bf181" providerId="ADAL" clId="{9EBA97F5-AA3D-A24B-BFAD-BF478EA5639D}" dt="2024-02-08T15:00:52.142" v="6401" actId="1038"/>
          <ac:picMkLst>
            <pc:docMk/>
            <pc:sldMk cId="2684686047" sldId="346"/>
            <ac:picMk id="20" creationId="{87E03796-281A-6C46-2DB1-D30790C4B0EC}"/>
          </ac:picMkLst>
        </pc:picChg>
        <pc:picChg chg="mod">
          <ac:chgData name="Jobst, Hanna" userId="e86661fe-1388-4b75-a8f7-53b9f30bf181" providerId="ADAL" clId="{9EBA97F5-AA3D-A24B-BFAD-BF478EA5639D}" dt="2024-02-08T13:21:56.685" v="3954"/>
          <ac:picMkLst>
            <pc:docMk/>
            <pc:sldMk cId="2684686047" sldId="346"/>
            <ac:picMk id="22" creationId="{5E53B955-DB27-AF2F-A322-101EBBBD8B89}"/>
          </ac:picMkLst>
        </pc:picChg>
      </pc:sldChg>
      <pc:sldChg chg="addSp delSp modSp mod modNotesTx">
        <pc:chgData name="Jobst, Hanna" userId="e86661fe-1388-4b75-a8f7-53b9f30bf181" providerId="ADAL" clId="{9EBA97F5-AA3D-A24B-BFAD-BF478EA5639D}" dt="2024-02-08T15:08:04.836" v="6453" actId="20577"/>
        <pc:sldMkLst>
          <pc:docMk/>
          <pc:sldMk cId="3420730971" sldId="347"/>
        </pc:sldMkLst>
        <pc:spChg chg="del">
          <ac:chgData name="Jobst, Hanna" userId="e86661fe-1388-4b75-a8f7-53b9f30bf181" providerId="ADAL" clId="{9EBA97F5-AA3D-A24B-BFAD-BF478EA5639D}" dt="2024-02-08T13:51:57.389" v="5064" actId="478"/>
          <ac:spMkLst>
            <pc:docMk/>
            <pc:sldMk cId="3420730971" sldId="347"/>
            <ac:spMk id="5" creationId="{97EE5372-CD5C-4298-EE52-61768E47D2D2}"/>
          </ac:spMkLst>
        </pc:spChg>
        <pc:spChg chg="mod">
          <ac:chgData name="Jobst, Hanna" userId="e86661fe-1388-4b75-a8f7-53b9f30bf181" providerId="ADAL" clId="{9EBA97F5-AA3D-A24B-BFAD-BF478EA5639D}" dt="2024-02-08T13:47:10.692" v="4851" actId="948"/>
          <ac:spMkLst>
            <pc:docMk/>
            <pc:sldMk cId="3420730971" sldId="347"/>
            <ac:spMk id="6" creationId="{B2F91D58-FAC4-ADAB-1F11-88D6E7B7C85C}"/>
          </ac:spMkLst>
        </pc:spChg>
        <pc:spChg chg="add mod">
          <ac:chgData name="Jobst, Hanna" userId="e86661fe-1388-4b75-a8f7-53b9f30bf181" providerId="ADAL" clId="{9EBA97F5-AA3D-A24B-BFAD-BF478EA5639D}" dt="2024-02-08T13:46:39.990" v="4702"/>
          <ac:spMkLst>
            <pc:docMk/>
            <pc:sldMk cId="3420730971" sldId="347"/>
            <ac:spMk id="7" creationId="{52BD46B1-96B1-471E-46F6-2B6C8B543479}"/>
          </ac:spMkLst>
        </pc:spChg>
        <pc:spChg chg="add del">
          <ac:chgData name="Jobst, Hanna" userId="e86661fe-1388-4b75-a8f7-53b9f30bf181" providerId="ADAL" clId="{9EBA97F5-AA3D-A24B-BFAD-BF478EA5639D}" dt="2024-02-08T13:47:37.067" v="4905"/>
          <ac:spMkLst>
            <pc:docMk/>
            <pc:sldMk cId="3420730971" sldId="347"/>
            <ac:spMk id="8" creationId="{9E913F5F-80E9-7079-2990-BC6D93CAE233}"/>
          </ac:spMkLst>
        </pc:spChg>
        <pc:spChg chg="mod">
          <ac:chgData name="Jobst, Hanna" userId="e86661fe-1388-4b75-a8f7-53b9f30bf181" providerId="ADAL" clId="{9EBA97F5-AA3D-A24B-BFAD-BF478EA5639D}" dt="2024-02-08T13:47:19.095" v="4897" actId="20577"/>
          <ac:spMkLst>
            <pc:docMk/>
            <pc:sldMk cId="3420730971" sldId="347"/>
            <ac:spMk id="9" creationId="{78F3A41D-DCDE-0008-645C-BAC43680A794}"/>
          </ac:spMkLst>
        </pc:spChg>
        <pc:spChg chg="add mod">
          <ac:chgData name="Jobst, Hanna" userId="e86661fe-1388-4b75-a8f7-53b9f30bf181" providerId="ADAL" clId="{9EBA97F5-AA3D-A24B-BFAD-BF478EA5639D}" dt="2024-02-08T13:48:38.548" v="5022" actId="1035"/>
          <ac:spMkLst>
            <pc:docMk/>
            <pc:sldMk cId="3420730971" sldId="347"/>
            <ac:spMk id="11" creationId="{146F3A9E-7320-AB6F-07A7-AA8985092FBA}"/>
          </ac:spMkLst>
        </pc:spChg>
        <pc:spChg chg="add mod">
          <ac:chgData name="Jobst, Hanna" userId="e86661fe-1388-4b75-a8f7-53b9f30bf181" providerId="ADAL" clId="{9EBA97F5-AA3D-A24B-BFAD-BF478EA5639D}" dt="2024-02-08T14:06:19.862" v="5600" actId="20577"/>
          <ac:spMkLst>
            <pc:docMk/>
            <pc:sldMk cId="3420730971" sldId="347"/>
            <ac:spMk id="12" creationId="{E86EFC0A-B42F-ADD9-D33D-83BB525B0CCB}"/>
          </ac:spMkLst>
        </pc:spChg>
        <pc:spChg chg="add mod">
          <ac:chgData name="Jobst, Hanna" userId="e86661fe-1388-4b75-a8f7-53b9f30bf181" providerId="ADAL" clId="{9EBA97F5-AA3D-A24B-BFAD-BF478EA5639D}" dt="2024-02-08T13:48:42.850" v="5031" actId="20577"/>
          <ac:spMkLst>
            <pc:docMk/>
            <pc:sldMk cId="3420730971" sldId="347"/>
            <ac:spMk id="13" creationId="{3FAA2FA8-4F05-D298-FDB8-B26E846D4249}"/>
          </ac:spMkLst>
        </pc:spChg>
        <pc:spChg chg="add del mod modVis">
          <ac:chgData name="Jobst, Hanna" userId="e86661fe-1388-4b75-a8f7-53b9f30bf181" providerId="ADAL" clId="{9EBA97F5-AA3D-A24B-BFAD-BF478EA5639D}" dt="2024-02-08T13:47:01.404" v="4741"/>
          <ac:spMkLst>
            <pc:docMk/>
            <pc:sldMk cId="3420730971" sldId="347"/>
            <ac:spMk id="14" creationId="{059CFDE2-B5E4-5D18-B1F9-27E9E3CE55EF}"/>
          </ac:spMkLst>
        </pc:spChg>
        <pc:spChg chg="add del mod modVis">
          <ac:chgData name="Jobst, Hanna" userId="e86661fe-1388-4b75-a8f7-53b9f30bf181" providerId="ADAL" clId="{9EBA97F5-AA3D-A24B-BFAD-BF478EA5639D}" dt="2024-02-08T13:47:05.580" v="4776"/>
          <ac:spMkLst>
            <pc:docMk/>
            <pc:sldMk cId="3420730971" sldId="347"/>
            <ac:spMk id="16" creationId="{563448A5-556D-C4D3-B4D5-7BB69B9EE6CA}"/>
          </ac:spMkLst>
        </pc:spChg>
        <pc:spChg chg="add del mod modVis">
          <ac:chgData name="Jobst, Hanna" userId="e86661fe-1388-4b75-a8f7-53b9f30bf181" providerId="ADAL" clId="{9EBA97F5-AA3D-A24B-BFAD-BF478EA5639D}" dt="2024-02-08T13:47:07.438" v="4812"/>
          <ac:spMkLst>
            <pc:docMk/>
            <pc:sldMk cId="3420730971" sldId="347"/>
            <ac:spMk id="17" creationId="{FDDF3C34-987E-AD5D-992B-10153567887D}"/>
          </ac:spMkLst>
        </pc:spChg>
        <pc:spChg chg="add del mod modVis">
          <ac:chgData name="Jobst, Hanna" userId="e86661fe-1388-4b75-a8f7-53b9f30bf181" providerId="ADAL" clId="{9EBA97F5-AA3D-A24B-BFAD-BF478EA5639D}" dt="2024-02-08T13:47:09.451" v="4842"/>
          <ac:spMkLst>
            <pc:docMk/>
            <pc:sldMk cId="3420730971" sldId="347"/>
            <ac:spMk id="18" creationId="{26A8C9FE-9FA2-5E8F-6D42-F0D61C18FA63}"/>
          </ac:spMkLst>
        </pc:spChg>
        <pc:spChg chg="add del mod modVis">
          <ac:chgData name="Jobst, Hanna" userId="e86661fe-1388-4b75-a8f7-53b9f30bf181" providerId="ADAL" clId="{9EBA97F5-AA3D-A24B-BFAD-BF478EA5639D}" dt="2024-02-08T13:47:10.740" v="4875"/>
          <ac:spMkLst>
            <pc:docMk/>
            <pc:sldMk cId="3420730971" sldId="347"/>
            <ac:spMk id="19" creationId="{37EE3FF5-ADA5-F9AC-065D-D0DE68CD0BD6}"/>
          </ac:spMkLst>
        </pc:spChg>
        <pc:spChg chg="add del mod">
          <ac:chgData name="Jobst, Hanna" userId="e86661fe-1388-4b75-a8f7-53b9f30bf181" providerId="ADAL" clId="{9EBA97F5-AA3D-A24B-BFAD-BF478EA5639D}" dt="2024-02-08T13:47:50.762" v="4909"/>
          <ac:spMkLst>
            <pc:docMk/>
            <pc:sldMk cId="3420730971" sldId="347"/>
            <ac:spMk id="25" creationId="{B4FAA91D-7DCA-3D29-5206-80E9CF67E06E}"/>
          </ac:spMkLst>
        </pc:spChg>
        <pc:spChg chg="add del mod">
          <ac:chgData name="Jobst, Hanna" userId="e86661fe-1388-4b75-a8f7-53b9f30bf181" providerId="ADAL" clId="{9EBA97F5-AA3D-A24B-BFAD-BF478EA5639D}" dt="2024-02-08T13:47:59.975" v="4913" actId="478"/>
          <ac:spMkLst>
            <pc:docMk/>
            <pc:sldMk cId="3420730971" sldId="347"/>
            <ac:spMk id="31" creationId="{7E7C13F2-E1A1-4732-61BC-55AB0E00B259}"/>
          </ac:spMkLst>
        </pc:spChg>
        <pc:spChg chg="add mod">
          <ac:chgData name="Jobst, Hanna" userId="e86661fe-1388-4b75-a8f7-53b9f30bf181" providerId="ADAL" clId="{9EBA97F5-AA3D-A24B-BFAD-BF478EA5639D}" dt="2024-02-08T13:51:57.810" v="5065"/>
          <ac:spMkLst>
            <pc:docMk/>
            <pc:sldMk cId="3420730971" sldId="347"/>
            <ac:spMk id="34" creationId="{33297AB7-8F25-7BA4-5EA2-1C1C61399D6C}"/>
          </ac:spMkLst>
        </pc:spChg>
        <pc:graphicFrameChg chg="mod">
          <ac:chgData name="Jobst, Hanna" userId="e86661fe-1388-4b75-a8f7-53b9f30bf181" providerId="ADAL" clId="{9EBA97F5-AA3D-A24B-BFAD-BF478EA5639D}" dt="2024-02-08T13:47:10.744" v="4877"/>
          <ac:graphicFrameMkLst>
            <pc:docMk/>
            <pc:sldMk cId="3420730971" sldId="347"/>
            <ac:graphicFrameMk id="10" creationId="{E19D88DA-FAC1-5A1B-A05E-F0809232C013}"/>
          </ac:graphicFrameMkLst>
        </pc:graphicFrameChg>
        <pc:graphicFrameChg chg="del mod modGraphic">
          <ac:chgData name="Jobst, Hanna" userId="e86661fe-1388-4b75-a8f7-53b9f30bf181" providerId="ADAL" clId="{9EBA97F5-AA3D-A24B-BFAD-BF478EA5639D}" dt="2024-02-08T13:48:04.657" v="4915" actId="478"/>
          <ac:graphicFrameMkLst>
            <pc:docMk/>
            <pc:sldMk cId="3420730971" sldId="347"/>
            <ac:graphicFrameMk id="15" creationId="{F71DAB7D-F241-7AB1-5CAD-1E14690324FC}"/>
          </ac:graphicFrameMkLst>
        </pc:graphicFrameChg>
        <pc:picChg chg="add mod">
          <ac:chgData name="Jobst, Hanna" userId="e86661fe-1388-4b75-a8f7-53b9f30bf181" providerId="ADAL" clId="{9EBA97F5-AA3D-A24B-BFAD-BF478EA5639D}" dt="2024-02-08T13:47:32.331" v="4904"/>
          <ac:picMkLst>
            <pc:docMk/>
            <pc:sldMk cId="3420730971" sldId="347"/>
            <ac:picMk id="21" creationId="{8A72CCFC-E50C-2C36-B682-EFD70395A9AF}"/>
          </ac:picMkLst>
        </pc:picChg>
        <pc:picChg chg="add del mod">
          <ac:chgData name="Jobst, Hanna" userId="e86661fe-1388-4b75-a8f7-53b9f30bf181" providerId="ADAL" clId="{9EBA97F5-AA3D-A24B-BFAD-BF478EA5639D}" dt="2024-02-08T13:47:41.785" v="4906" actId="478"/>
          <ac:picMkLst>
            <pc:docMk/>
            <pc:sldMk cId="3420730971" sldId="347"/>
            <ac:picMk id="23" creationId="{314247E6-2A41-DBDE-230A-965FB27D35C6}"/>
          </ac:picMkLst>
        </pc:picChg>
        <pc:picChg chg="add mod">
          <ac:chgData name="Jobst, Hanna" userId="e86661fe-1388-4b75-a8f7-53b9f30bf181" providerId="ADAL" clId="{9EBA97F5-AA3D-A24B-BFAD-BF478EA5639D}" dt="2024-02-08T13:47:47.514" v="4908"/>
          <ac:picMkLst>
            <pc:docMk/>
            <pc:sldMk cId="3420730971" sldId="347"/>
            <ac:picMk id="27" creationId="{B549AD5F-BBFF-3918-0B74-F16C24DADD90}"/>
          </ac:picMkLst>
        </pc:picChg>
        <pc:picChg chg="add del mod">
          <ac:chgData name="Jobst, Hanna" userId="e86661fe-1388-4b75-a8f7-53b9f30bf181" providerId="ADAL" clId="{9EBA97F5-AA3D-A24B-BFAD-BF478EA5639D}" dt="2024-02-08T13:47:58.422" v="4912" actId="478"/>
          <ac:picMkLst>
            <pc:docMk/>
            <pc:sldMk cId="3420730971" sldId="347"/>
            <ac:picMk id="29" creationId="{B4F6086D-88CF-1DC3-3A4A-2A5B990FAA4D}"/>
          </ac:picMkLst>
        </pc:picChg>
        <pc:picChg chg="add mod">
          <ac:chgData name="Jobst, Hanna" userId="e86661fe-1388-4b75-a8f7-53b9f30bf181" providerId="ADAL" clId="{9EBA97F5-AA3D-A24B-BFAD-BF478EA5639D}" dt="2024-02-08T13:48:48.261" v="5032" actId="1076"/>
          <ac:picMkLst>
            <pc:docMk/>
            <pc:sldMk cId="3420730971" sldId="347"/>
            <ac:picMk id="33" creationId="{D9EA4B91-AD0E-3B81-40BC-883BE9104C54}"/>
          </ac:picMkLst>
        </pc:picChg>
      </pc:sldChg>
      <pc:sldChg chg="addSp delSp modSp mod">
        <pc:chgData name="Jobst, Hanna" userId="e86661fe-1388-4b75-a8f7-53b9f30bf181" providerId="ADAL" clId="{9EBA97F5-AA3D-A24B-BFAD-BF478EA5639D}" dt="2024-02-04T13:18:41.164" v="1135"/>
        <pc:sldMkLst>
          <pc:docMk/>
          <pc:sldMk cId="1217021714" sldId="348"/>
        </pc:sldMkLst>
        <pc:spChg chg="add mod">
          <ac:chgData name="Jobst, Hanna" userId="e86661fe-1388-4b75-a8f7-53b9f30bf181" providerId="ADAL" clId="{9EBA97F5-AA3D-A24B-BFAD-BF478EA5639D}" dt="2024-02-04T13:18:41.164" v="1135"/>
          <ac:spMkLst>
            <pc:docMk/>
            <pc:sldMk cId="1217021714" sldId="348"/>
            <ac:spMk id="2" creationId="{18FE95E4-9283-2716-546D-FD4AF0AF5E71}"/>
          </ac:spMkLst>
        </pc:spChg>
        <pc:spChg chg="del">
          <ac:chgData name="Jobst, Hanna" userId="e86661fe-1388-4b75-a8f7-53b9f30bf181" providerId="ADAL" clId="{9EBA97F5-AA3D-A24B-BFAD-BF478EA5639D}" dt="2024-02-04T13:14:01.302" v="889" actId="478"/>
          <ac:spMkLst>
            <pc:docMk/>
            <pc:sldMk cId="1217021714" sldId="348"/>
            <ac:spMk id="4" creationId="{44ECEE9F-9123-122D-3FE4-202E582179C0}"/>
          </ac:spMkLst>
        </pc:spChg>
      </pc:sldChg>
      <pc:sldChg chg="addSp delSp del mod">
        <pc:chgData name="Jobst, Hanna" userId="e86661fe-1388-4b75-a8f7-53b9f30bf181" providerId="ADAL" clId="{9EBA97F5-AA3D-A24B-BFAD-BF478EA5639D}" dt="2024-02-07T18:54:23.235" v="2191" actId="2696"/>
        <pc:sldMkLst>
          <pc:docMk/>
          <pc:sldMk cId="310617772" sldId="357"/>
        </pc:sldMkLst>
        <pc:spChg chg="add del">
          <ac:chgData name="Jobst, Hanna" userId="e86661fe-1388-4b75-a8f7-53b9f30bf181" providerId="ADAL" clId="{9EBA97F5-AA3D-A24B-BFAD-BF478EA5639D}" dt="2024-02-04T12:58:52.170" v="284" actId="11529"/>
          <ac:spMkLst>
            <pc:docMk/>
            <pc:sldMk cId="310617772" sldId="357"/>
            <ac:spMk id="28" creationId="{D9B769D6-FC4C-6905-D3D6-78BCFF9FEC4B}"/>
          </ac:spMkLst>
        </pc:spChg>
        <pc:spChg chg="add del">
          <ac:chgData name="Jobst, Hanna" userId="e86661fe-1388-4b75-a8f7-53b9f30bf181" providerId="ADAL" clId="{9EBA97F5-AA3D-A24B-BFAD-BF478EA5639D}" dt="2024-02-04T12:58:59.730" v="286" actId="11529"/>
          <ac:spMkLst>
            <pc:docMk/>
            <pc:sldMk cId="310617772" sldId="357"/>
            <ac:spMk id="29" creationId="{597C56AF-2ED8-EC69-7D4E-649F8052B301}"/>
          </ac:spMkLst>
        </pc:spChg>
      </pc:sldChg>
      <pc:sldChg chg="modSp mod">
        <pc:chgData name="Jobst, Hanna" userId="e86661fe-1388-4b75-a8f7-53b9f30bf181" providerId="ADAL" clId="{9EBA97F5-AA3D-A24B-BFAD-BF478EA5639D}" dt="2024-02-04T13:14:09.973" v="890" actId="1076"/>
        <pc:sldMkLst>
          <pc:docMk/>
          <pc:sldMk cId="218260472" sldId="358"/>
        </pc:sldMkLst>
        <pc:spChg chg="mod">
          <ac:chgData name="Jobst, Hanna" userId="e86661fe-1388-4b75-a8f7-53b9f30bf181" providerId="ADAL" clId="{9EBA97F5-AA3D-A24B-BFAD-BF478EA5639D}" dt="2024-02-04T13:14:09.973" v="890" actId="1076"/>
          <ac:spMkLst>
            <pc:docMk/>
            <pc:sldMk cId="218260472" sldId="358"/>
            <ac:spMk id="21" creationId="{6704C658-3C72-A56E-9470-D8D2E490D1DD}"/>
          </ac:spMkLst>
        </pc:spChg>
      </pc:sldChg>
      <pc:sldChg chg="addSp delSp modSp mod">
        <pc:chgData name="Jobst, Hanna" userId="e86661fe-1388-4b75-a8f7-53b9f30bf181" providerId="ADAL" clId="{9EBA97F5-AA3D-A24B-BFAD-BF478EA5639D}" dt="2024-02-08T14:22:30.139" v="6164"/>
        <pc:sldMkLst>
          <pc:docMk/>
          <pc:sldMk cId="3863385461" sldId="361"/>
        </pc:sldMkLst>
        <pc:spChg chg="del">
          <ac:chgData name="Jobst, Hanna" userId="e86661fe-1388-4b75-a8f7-53b9f30bf181" providerId="ADAL" clId="{9EBA97F5-AA3D-A24B-BFAD-BF478EA5639D}" dt="2024-02-08T14:22:29.428" v="6163" actId="478"/>
          <ac:spMkLst>
            <pc:docMk/>
            <pc:sldMk cId="3863385461" sldId="361"/>
            <ac:spMk id="5" creationId="{013C4558-A400-4A3C-F80B-2A843FAF7255}"/>
          </ac:spMkLst>
        </pc:spChg>
        <pc:spChg chg="add mod">
          <ac:chgData name="Jobst, Hanna" userId="e86661fe-1388-4b75-a8f7-53b9f30bf181" providerId="ADAL" clId="{9EBA97F5-AA3D-A24B-BFAD-BF478EA5639D}" dt="2024-02-08T14:22:30.139" v="6164"/>
          <ac:spMkLst>
            <pc:docMk/>
            <pc:sldMk cId="3863385461" sldId="361"/>
            <ac:spMk id="11" creationId="{41C753F3-D4EF-033B-4257-727BA06E1600}"/>
          </ac:spMkLst>
        </pc:spChg>
      </pc:sldChg>
      <pc:sldChg chg="addSp delSp modSp mod">
        <pc:chgData name="Jobst, Hanna" userId="e86661fe-1388-4b75-a8f7-53b9f30bf181" providerId="ADAL" clId="{9EBA97F5-AA3D-A24B-BFAD-BF478EA5639D}" dt="2024-02-08T14:22:34.514" v="6166" actId="478"/>
        <pc:sldMkLst>
          <pc:docMk/>
          <pc:sldMk cId="1994662312" sldId="363"/>
        </pc:sldMkLst>
        <pc:spChg chg="del">
          <ac:chgData name="Jobst, Hanna" userId="e86661fe-1388-4b75-a8f7-53b9f30bf181" providerId="ADAL" clId="{9EBA97F5-AA3D-A24B-BFAD-BF478EA5639D}" dt="2024-02-08T14:22:34.514" v="6166" actId="478"/>
          <ac:spMkLst>
            <pc:docMk/>
            <pc:sldMk cId="1994662312" sldId="363"/>
            <ac:spMk id="5" creationId="{A0C1C5B8-49DC-4E3D-BC92-49DE8B550CA3}"/>
          </ac:spMkLst>
        </pc:spChg>
        <pc:spChg chg="add mod">
          <ac:chgData name="Jobst, Hanna" userId="e86661fe-1388-4b75-a8f7-53b9f30bf181" providerId="ADAL" clId="{9EBA97F5-AA3D-A24B-BFAD-BF478EA5639D}" dt="2024-02-08T14:22:32.441" v="6165"/>
          <ac:spMkLst>
            <pc:docMk/>
            <pc:sldMk cId="1994662312" sldId="363"/>
            <ac:spMk id="11" creationId="{19AB20BC-67BD-6A9E-779C-495331B15C30}"/>
          </ac:spMkLst>
        </pc:spChg>
      </pc:sldChg>
      <pc:sldChg chg="addSp delSp modSp add mod">
        <pc:chgData name="Jobst, Hanna" userId="e86661fe-1388-4b75-a8f7-53b9f30bf181" providerId="ADAL" clId="{9EBA97F5-AA3D-A24B-BFAD-BF478EA5639D}" dt="2024-02-08T17:02:35.870" v="6804"/>
        <pc:sldMkLst>
          <pc:docMk/>
          <pc:sldMk cId="482519800" sldId="365"/>
        </pc:sldMkLst>
        <pc:spChg chg="del">
          <ac:chgData name="Jobst, Hanna" userId="e86661fe-1388-4b75-a8f7-53b9f30bf181" providerId="ADAL" clId="{9EBA97F5-AA3D-A24B-BFAD-BF478EA5639D}" dt="2024-02-08T08:57:27.042" v="2525" actId="478"/>
          <ac:spMkLst>
            <pc:docMk/>
            <pc:sldMk cId="482519800" sldId="365"/>
            <ac:spMk id="2" creationId="{6544F514-8AA1-6E56-90EA-C348EE85192C}"/>
          </ac:spMkLst>
        </pc:spChg>
        <pc:spChg chg="mod">
          <ac:chgData name="Jobst, Hanna" userId="e86661fe-1388-4b75-a8f7-53b9f30bf181" providerId="ADAL" clId="{9EBA97F5-AA3D-A24B-BFAD-BF478EA5639D}" dt="2024-02-04T13:13:44.440" v="888" actId="1076"/>
          <ac:spMkLst>
            <pc:docMk/>
            <pc:sldMk cId="482519800" sldId="365"/>
            <ac:spMk id="3" creationId="{89DAC4CB-4FC9-6DA8-F737-109ECA8C4081}"/>
          </ac:spMkLst>
        </pc:spChg>
        <pc:spChg chg="mod">
          <ac:chgData name="Jobst, Hanna" userId="e86661fe-1388-4b75-a8f7-53b9f30bf181" providerId="ADAL" clId="{9EBA97F5-AA3D-A24B-BFAD-BF478EA5639D}" dt="2024-02-08T17:02:35.870" v="6804"/>
          <ac:spMkLst>
            <pc:docMk/>
            <pc:sldMk cId="482519800" sldId="365"/>
            <ac:spMk id="5" creationId="{2DD64BF6-ED49-C683-1FAD-F1139BEDF1A2}"/>
          </ac:spMkLst>
        </pc:spChg>
        <pc:spChg chg="mod">
          <ac:chgData name="Jobst, Hanna" userId="e86661fe-1388-4b75-a8f7-53b9f30bf181" providerId="ADAL" clId="{9EBA97F5-AA3D-A24B-BFAD-BF478EA5639D}" dt="2024-02-04T13:06:09.595" v="625" actId="948"/>
          <ac:spMkLst>
            <pc:docMk/>
            <pc:sldMk cId="482519800" sldId="365"/>
            <ac:spMk id="6" creationId="{A4DD037D-D2A8-DC57-5695-8DEEA7FBC52B}"/>
          </ac:spMkLst>
        </pc:spChg>
        <pc:spChg chg="add mod">
          <ac:chgData name="Jobst, Hanna" userId="e86661fe-1388-4b75-a8f7-53b9f30bf181" providerId="ADAL" clId="{9EBA97F5-AA3D-A24B-BFAD-BF478EA5639D}" dt="2024-02-08T08:57:25.042" v="2524"/>
          <ac:spMkLst>
            <pc:docMk/>
            <pc:sldMk cId="482519800" sldId="365"/>
            <ac:spMk id="7" creationId="{21BB0A07-8C9D-EA7D-4FE6-DAFD95BDE463}"/>
          </ac:spMkLst>
        </pc:spChg>
        <pc:spChg chg="add del mod modVis">
          <ac:chgData name="Jobst, Hanna" userId="e86661fe-1388-4b75-a8f7-53b9f30bf181" providerId="ADAL" clId="{9EBA97F5-AA3D-A24B-BFAD-BF478EA5639D}" dt="2024-02-04T12:55:32.839" v="49"/>
          <ac:spMkLst>
            <pc:docMk/>
            <pc:sldMk cId="482519800" sldId="365"/>
            <ac:spMk id="7" creationId="{F05C967C-9CD6-CF0A-B26C-BE3AC413313C}"/>
          </ac:spMkLst>
        </pc:spChg>
        <pc:spChg chg="mod">
          <ac:chgData name="Jobst, Hanna" userId="e86661fe-1388-4b75-a8f7-53b9f30bf181" providerId="ADAL" clId="{9EBA97F5-AA3D-A24B-BFAD-BF478EA5639D}" dt="2024-02-04T12:55:26.577" v="12" actId="20577"/>
          <ac:spMkLst>
            <pc:docMk/>
            <pc:sldMk cId="482519800" sldId="365"/>
            <ac:spMk id="9" creationId="{98B53710-BA32-E99A-3A42-00755BF7A400}"/>
          </ac:spMkLst>
        </pc:spChg>
        <pc:spChg chg="del">
          <ac:chgData name="Jobst, Hanna" userId="e86661fe-1388-4b75-a8f7-53b9f30bf181" providerId="ADAL" clId="{9EBA97F5-AA3D-A24B-BFAD-BF478EA5639D}" dt="2024-02-08T13:51:30.024" v="5054" actId="478"/>
          <ac:spMkLst>
            <pc:docMk/>
            <pc:sldMk cId="482519800" sldId="365"/>
            <ac:spMk id="10" creationId="{F12C3A56-9FA7-0FDF-7D7D-ECBCFF516BCB}"/>
          </ac:spMkLst>
        </pc:spChg>
        <pc:spChg chg="add mod">
          <ac:chgData name="Jobst, Hanna" userId="e86661fe-1388-4b75-a8f7-53b9f30bf181" providerId="ADAL" clId="{9EBA97F5-AA3D-A24B-BFAD-BF478EA5639D}" dt="2024-02-08T13:51:30.725" v="5055"/>
          <ac:spMkLst>
            <pc:docMk/>
            <pc:sldMk cId="482519800" sldId="365"/>
            <ac:spMk id="12" creationId="{64F97727-93B8-0814-C839-71A40873F289}"/>
          </ac:spMkLst>
        </pc:spChg>
        <pc:spChg chg="del">
          <ac:chgData name="Jobst, Hanna" userId="e86661fe-1388-4b75-a8f7-53b9f30bf181" providerId="ADAL" clId="{9EBA97F5-AA3D-A24B-BFAD-BF478EA5639D}" dt="2024-02-04T12:57:28.970" v="282" actId="478"/>
          <ac:spMkLst>
            <pc:docMk/>
            <pc:sldMk cId="482519800" sldId="365"/>
            <ac:spMk id="12" creationId="{83164EE5-EE8A-A197-1BA4-FC622362B5DD}"/>
          </ac:spMkLst>
        </pc:spChg>
        <pc:spChg chg="add del mod modVis">
          <ac:chgData name="Jobst, Hanna" userId="e86661fe-1388-4b75-a8f7-53b9f30bf181" providerId="ADAL" clId="{9EBA97F5-AA3D-A24B-BFAD-BF478EA5639D}" dt="2024-02-04T12:55:35.976" v="93"/>
          <ac:spMkLst>
            <pc:docMk/>
            <pc:sldMk cId="482519800" sldId="365"/>
            <ac:spMk id="13" creationId="{C82C8C08-75F4-05E9-27EC-A5ACB8E892C1}"/>
          </ac:spMkLst>
        </pc:spChg>
        <pc:spChg chg="del">
          <ac:chgData name="Jobst, Hanna" userId="e86661fe-1388-4b75-a8f7-53b9f30bf181" providerId="ADAL" clId="{9EBA97F5-AA3D-A24B-BFAD-BF478EA5639D}" dt="2024-02-04T12:57:28.970" v="282" actId="478"/>
          <ac:spMkLst>
            <pc:docMk/>
            <pc:sldMk cId="482519800" sldId="365"/>
            <ac:spMk id="14" creationId="{EED30DC7-D95F-BC78-6411-1F96DC8D1942}"/>
          </ac:spMkLst>
        </pc:spChg>
        <pc:spChg chg="add del mod modVis">
          <ac:chgData name="Jobst, Hanna" userId="e86661fe-1388-4b75-a8f7-53b9f30bf181" providerId="ADAL" clId="{9EBA97F5-AA3D-A24B-BFAD-BF478EA5639D}" dt="2024-02-04T12:55:38.243" v="128"/>
          <ac:spMkLst>
            <pc:docMk/>
            <pc:sldMk cId="482519800" sldId="365"/>
            <ac:spMk id="15" creationId="{F8622246-BDDB-081D-CA64-794C9F2B356B}"/>
          </ac:spMkLst>
        </pc:spChg>
        <pc:spChg chg="del">
          <ac:chgData name="Jobst, Hanna" userId="e86661fe-1388-4b75-a8f7-53b9f30bf181" providerId="ADAL" clId="{9EBA97F5-AA3D-A24B-BFAD-BF478EA5639D}" dt="2024-02-04T12:57:28.970" v="282" actId="478"/>
          <ac:spMkLst>
            <pc:docMk/>
            <pc:sldMk cId="482519800" sldId="365"/>
            <ac:spMk id="16" creationId="{F4C98D46-E647-230A-3D18-9C93C7D8235A}"/>
          </ac:spMkLst>
        </pc:spChg>
        <pc:spChg chg="add del mod modVis">
          <ac:chgData name="Jobst, Hanna" userId="e86661fe-1388-4b75-a8f7-53b9f30bf181" providerId="ADAL" clId="{9EBA97F5-AA3D-A24B-BFAD-BF478EA5639D}" dt="2024-02-04T12:55:40.700" v="163"/>
          <ac:spMkLst>
            <pc:docMk/>
            <pc:sldMk cId="482519800" sldId="365"/>
            <ac:spMk id="17" creationId="{A9CCCA1A-6B2C-4506-62BB-9646BDD21455}"/>
          </ac:spMkLst>
        </pc:spChg>
        <pc:spChg chg="del">
          <ac:chgData name="Jobst, Hanna" userId="e86661fe-1388-4b75-a8f7-53b9f30bf181" providerId="ADAL" clId="{9EBA97F5-AA3D-A24B-BFAD-BF478EA5639D}" dt="2024-02-04T12:57:28.970" v="282" actId="478"/>
          <ac:spMkLst>
            <pc:docMk/>
            <pc:sldMk cId="482519800" sldId="365"/>
            <ac:spMk id="18" creationId="{3E120410-EEE9-8AB6-E436-608FAC362E34}"/>
          </ac:spMkLst>
        </pc:spChg>
        <pc:spChg chg="add del mod modVis">
          <ac:chgData name="Jobst, Hanna" userId="e86661fe-1388-4b75-a8f7-53b9f30bf181" providerId="ADAL" clId="{9EBA97F5-AA3D-A24B-BFAD-BF478EA5639D}" dt="2024-02-04T12:55:59.715" v="192"/>
          <ac:spMkLst>
            <pc:docMk/>
            <pc:sldMk cId="482519800" sldId="365"/>
            <ac:spMk id="21" creationId="{63E55180-F3A9-B042-752D-C6C20D7E8A81}"/>
          </ac:spMkLst>
        </pc:spChg>
        <pc:spChg chg="add del mod modVis">
          <ac:chgData name="Jobst, Hanna" userId="e86661fe-1388-4b75-a8f7-53b9f30bf181" providerId="ADAL" clId="{9EBA97F5-AA3D-A24B-BFAD-BF478EA5639D}" dt="2024-02-04T12:56:04.473" v="220"/>
          <ac:spMkLst>
            <pc:docMk/>
            <pc:sldMk cId="482519800" sldId="365"/>
            <ac:spMk id="23" creationId="{C876A127-E4A2-2C7E-6857-9357964F19C7}"/>
          </ac:spMkLst>
        </pc:spChg>
        <pc:spChg chg="add del mod modVis">
          <ac:chgData name="Jobst, Hanna" userId="e86661fe-1388-4b75-a8f7-53b9f30bf181" providerId="ADAL" clId="{9EBA97F5-AA3D-A24B-BFAD-BF478EA5639D}" dt="2024-02-04T13:05:48.615" v="313"/>
          <ac:spMkLst>
            <pc:docMk/>
            <pc:sldMk cId="482519800" sldId="365"/>
            <ac:spMk id="24" creationId="{A770C256-504C-7FE5-260F-82D663BECB07}"/>
          </ac:spMkLst>
        </pc:spChg>
        <pc:spChg chg="add del mod modVis">
          <ac:chgData name="Jobst, Hanna" userId="e86661fe-1388-4b75-a8f7-53b9f30bf181" providerId="ADAL" clId="{9EBA97F5-AA3D-A24B-BFAD-BF478EA5639D}" dt="2024-02-04T13:05:53.297" v="342"/>
          <ac:spMkLst>
            <pc:docMk/>
            <pc:sldMk cId="482519800" sldId="365"/>
            <ac:spMk id="25" creationId="{303022CD-DD01-F599-8F46-DF0AB205AE5E}"/>
          </ac:spMkLst>
        </pc:spChg>
        <pc:spChg chg="add del mod modVis">
          <ac:chgData name="Jobst, Hanna" userId="e86661fe-1388-4b75-a8f7-53b9f30bf181" providerId="ADAL" clId="{9EBA97F5-AA3D-A24B-BFAD-BF478EA5639D}" dt="2024-02-04T13:05:55.794" v="370"/>
          <ac:spMkLst>
            <pc:docMk/>
            <pc:sldMk cId="482519800" sldId="365"/>
            <ac:spMk id="26" creationId="{8A491A0B-DEBC-8A29-10F2-77185FBF36A7}"/>
          </ac:spMkLst>
        </pc:spChg>
        <pc:spChg chg="add del mod modVis">
          <ac:chgData name="Jobst, Hanna" userId="e86661fe-1388-4b75-a8f7-53b9f30bf181" providerId="ADAL" clId="{9EBA97F5-AA3D-A24B-BFAD-BF478EA5639D}" dt="2024-02-04T13:05:57.334" v="404"/>
          <ac:spMkLst>
            <pc:docMk/>
            <pc:sldMk cId="482519800" sldId="365"/>
            <ac:spMk id="27" creationId="{7744B631-B5A1-68DD-8B04-906000609609}"/>
          </ac:spMkLst>
        </pc:spChg>
        <pc:spChg chg="add del mod modVis">
          <ac:chgData name="Jobst, Hanna" userId="e86661fe-1388-4b75-a8f7-53b9f30bf181" providerId="ADAL" clId="{9EBA97F5-AA3D-A24B-BFAD-BF478EA5639D}" dt="2024-02-04T13:05:57.981" v="432"/>
          <ac:spMkLst>
            <pc:docMk/>
            <pc:sldMk cId="482519800" sldId="365"/>
            <ac:spMk id="28" creationId="{13725C33-A84A-B50E-0F61-3B5634A07579}"/>
          </ac:spMkLst>
        </pc:spChg>
        <pc:spChg chg="add del mod modVis">
          <ac:chgData name="Jobst, Hanna" userId="e86661fe-1388-4b75-a8f7-53b9f30bf181" providerId="ADAL" clId="{9EBA97F5-AA3D-A24B-BFAD-BF478EA5639D}" dt="2024-02-04T13:05:58.828" v="461"/>
          <ac:spMkLst>
            <pc:docMk/>
            <pc:sldMk cId="482519800" sldId="365"/>
            <ac:spMk id="29" creationId="{2C71BD98-4757-E200-BEC5-6CF767278DA9}"/>
          </ac:spMkLst>
        </pc:spChg>
        <pc:spChg chg="add del mod modVis">
          <ac:chgData name="Jobst, Hanna" userId="e86661fe-1388-4b75-a8f7-53b9f30bf181" providerId="ADAL" clId="{9EBA97F5-AA3D-A24B-BFAD-BF478EA5639D}" dt="2024-02-04T13:06:01.539" v="492"/>
          <ac:spMkLst>
            <pc:docMk/>
            <pc:sldMk cId="482519800" sldId="365"/>
            <ac:spMk id="30" creationId="{8B5894C5-A6CD-ADFA-6CFA-3E259BE7D65A}"/>
          </ac:spMkLst>
        </pc:spChg>
        <pc:spChg chg="add del mod modVis">
          <ac:chgData name="Jobst, Hanna" userId="e86661fe-1388-4b75-a8f7-53b9f30bf181" providerId="ADAL" clId="{9EBA97F5-AA3D-A24B-BFAD-BF478EA5639D}" dt="2024-02-04T13:06:04.140" v="528"/>
          <ac:spMkLst>
            <pc:docMk/>
            <pc:sldMk cId="482519800" sldId="365"/>
            <ac:spMk id="31" creationId="{CCC5DDBD-C057-14F4-BEE4-689958ED5D16}"/>
          </ac:spMkLst>
        </pc:spChg>
        <pc:spChg chg="add del mod modVis">
          <ac:chgData name="Jobst, Hanna" userId="e86661fe-1388-4b75-a8f7-53b9f30bf181" providerId="ADAL" clId="{9EBA97F5-AA3D-A24B-BFAD-BF478EA5639D}" dt="2024-02-04T13:06:07.441" v="560"/>
          <ac:spMkLst>
            <pc:docMk/>
            <pc:sldMk cId="482519800" sldId="365"/>
            <ac:spMk id="32" creationId="{C18282CD-A436-A57F-4ADA-2B0C81385D7F}"/>
          </ac:spMkLst>
        </pc:spChg>
        <pc:spChg chg="add del mod modVis">
          <ac:chgData name="Jobst, Hanna" userId="e86661fe-1388-4b75-a8f7-53b9f30bf181" providerId="ADAL" clId="{9EBA97F5-AA3D-A24B-BFAD-BF478EA5639D}" dt="2024-02-04T13:06:08.289" v="590"/>
          <ac:spMkLst>
            <pc:docMk/>
            <pc:sldMk cId="482519800" sldId="365"/>
            <ac:spMk id="33" creationId="{BB4590DD-2AE9-1D01-C818-FE34A34603B5}"/>
          </ac:spMkLst>
        </pc:spChg>
        <pc:spChg chg="add del mod modVis">
          <ac:chgData name="Jobst, Hanna" userId="e86661fe-1388-4b75-a8f7-53b9f30bf181" providerId="ADAL" clId="{9EBA97F5-AA3D-A24B-BFAD-BF478EA5639D}" dt="2024-02-04T13:06:08.593" v="618"/>
          <ac:spMkLst>
            <pc:docMk/>
            <pc:sldMk cId="482519800" sldId="365"/>
            <ac:spMk id="34" creationId="{FB294E33-4BE0-5E91-C7CA-E95465FF2A23}"/>
          </ac:spMkLst>
        </pc:spChg>
        <pc:spChg chg="add del mod modVis">
          <ac:chgData name="Jobst, Hanna" userId="e86661fe-1388-4b75-a8f7-53b9f30bf181" providerId="ADAL" clId="{9EBA97F5-AA3D-A24B-BFAD-BF478EA5639D}" dt="2024-02-04T13:06:09.648" v="649"/>
          <ac:spMkLst>
            <pc:docMk/>
            <pc:sldMk cId="482519800" sldId="365"/>
            <ac:spMk id="35" creationId="{62FA9ABA-203A-EC48-D6ED-8D16B052DA6C}"/>
          </ac:spMkLst>
        </pc:spChg>
        <pc:spChg chg="add mod">
          <ac:chgData name="Jobst, Hanna" userId="e86661fe-1388-4b75-a8f7-53b9f30bf181" providerId="ADAL" clId="{9EBA97F5-AA3D-A24B-BFAD-BF478EA5639D}" dt="2024-02-04T13:09:50.194" v="838" actId="1038"/>
          <ac:spMkLst>
            <pc:docMk/>
            <pc:sldMk cId="482519800" sldId="365"/>
            <ac:spMk id="38" creationId="{AE732F2C-7BBC-8198-D893-3099E2D6E308}"/>
          </ac:spMkLst>
        </pc:spChg>
        <pc:spChg chg="add mod">
          <ac:chgData name="Jobst, Hanna" userId="e86661fe-1388-4b75-a8f7-53b9f30bf181" providerId="ADAL" clId="{9EBA97F5-AA3D-A24B-BFAD-BF478EA5639D}" dt="2024-02-04T13:09:33.093" v="790" actId="1076"/>
          <ac:spMkLst>
            <pc:docMk/>
            <pc:sldMk cId="482519800" sldId="365"/>
            <ac:spMk id="39" creationId="{295C279B-3F75-647E-B06B-5518FA3ED7A8}"/>
          </ac:spMkLst>
        </pc:spChg>
        <pc:spChg chg="add mod">
          <ac:chgData name="Jobst, Hanna" userId="e86661fe-1388-4b75-a8f7-53b9f30bf181" providerId="ADAL" clId="{9EBA97F5-AA3D-A24B-BFAD-BF478EA5639D}" dt="2024-02-04T13:13:10.621" v="880" actId="1038"/>
          <ac:spMkLst>
            <pc:docMk/>
            <pc:sldMk cId="482519800" sldId="365"/>
            <ac:spMk id="40" creationId="{62C1B4C8-98F5-B027-0B0A-4CDEC5B9B210}"/>
          </ac:spMkLst>
        </pc:spChg>
        <pc:graphicFrameChg chg="mod">
          <ac:chgData name="Jobst, Hanna" userId="e86661fe-1388-4b75-a8f7-53b9f30bf181" providerId="ADAL" clId="{9EBA97F5-AA3D-A24B-BFAD-BF478EA5639D}" dt="2024-02-04T13:06:09.652" v="651"/>
          <ac:graphicFrameMkLst>
            <pc:docMk/>
            <pc:sldMk cId="482519800" sldId="365"/>
            <ac:graphicFrameMk id="11" creationId="{E19532D3-9CCB-0EB3-792B-BBE655B2629C}"/>
          </ac:graphicFrameMkLst>
        </pc:graphicFrameChg>
        <pc:picChg chg="del">
          <ac:chgData name="Jobst, Hanna" userId="e86661fe-1388-4b75-a8f7-53b9f30bf181" providerId="ADAL" clId="{9EBA97F5-AA3D-A24B-BFAD-BF478EA5639D}" dt="2024-02-04T12:57:28.970" v="282" actId="478"/>
          <ac:picMkLst>
            <pc:docMk/>
            <pc:sldMk cId="482519800" sldId="365"/>
            <ac:picMk id="10" creationId="{B310A258-29B6-45F2-2019-FD50AAC00036}"/>
          </ac:picMkLst>
        </pc:picChg>
        <pc:picChg chg="del">
          <ac:chgData name="Jobst, Hanna" userId="e86661fe-1388-4b75-a8f7-53b9f30bf181" providerId="ADAL" clId="{9EBA97F5-AA3D-A24B-BFAD-BF478EA5639D}" dt="2024-02-04T12:57:28.970" v="282" actId="478"/>
          <ac:picMkLst>
            <pc:docMk/>
            <pc:sldMk cId="482519800" sldId="365"/>
            <ac:picMk id="19" creationId="{E9F4631C-1B12-A11F-72D2-C8D3636FBBC9}"/>
          </ac:picMkLst>
        </pc:picChg>
        <pc:picChg chg="del">
          <ac:chgData name="Jobst, Hanna" userId="e86661fe-1388-4b75-a8f7-53b9f30bf181" providerId="ADAL" clId="{9EBA97F5-AA3D-A24B-BFAD-BF478EA5639D}" dt="2024-02-04T12:57:28.970" v="282" actId="478"/>
          <ac:picMkLst>
            <pc:docMk/>
            <pc:sldMk cId="482519800" sldId="365"/>
            <ac:picMk id="20" creationId="{43301D32-7C85-0F83-2460-9290AE23E99C}"/>
          </ac:picMkLst>
        </pc:picChg>
        <pc:picChg chg="del">
          <ac:chgData name="Jobst, Hanna" userId="e86661fe-1388-4b75-a8f7-53b9f30bf181" providerId="ADAL" clId="{9EBA97F5-AA3D-A24B-BFAD-BF478EA5639D}" dt="2024-02-04T12:57:28.970" v="282" actId="478"/>
          <ac:picMkLst>
            <pc:docMk/>
            <pc:sldMk cId="482519800" sldId="365"/>
            <ac:picMk id="22" creationId="{F66608F6-81A4-B985-0FFD-AD13C4DABC55}"/>
          </ac:picMkLst>
        </pc:picChg>
        <pc:picChg chg="add mod">
          <ac:chgData name="Jobst, Hanna" userId="e86661fe-1388-4b75-a8f7-53b9f30bf181" providerId="ADAL" clId="{9EBA97F5-AA3D-A24B-BFAD-BF478EA5639D}" dt="2024-02-04T13:07:14.467" v="660" actId="1076"/>
          <ac:picMkLst>
            <pc:docMk/>
            <pc:sldMk cId="482519800" sldId="365"/>
            <ac:picMk id="36" creationId="{EAA3F800-ECE4-4A16-5DC5-45C62A840622}"/>
          </ac:picMkLst>
        </pc:picChg>
        <pc:picChg chg="add mod">
          <ac:chgData name="Jobst, Hanna" userId="e86661fe-1388-4b75-a8f7-53b9f30bf181" providerId="ADAL" clId="{9EBA97F5-AA3D-A24B-BFAD-BF478EA5639D}" dt="2024-02-04T13:09:50.194" v="838" actId="1038"/>
          <ac:picMkLst>
            <pc:docMk/>
            <pc:sldMk cId="482519800" sldId="365"/>
            <ac:picMk id="37" creationId="{661CB7B4-E2D4-2092-644C-4114A3EFA9FB}"/>
          </ac:picMkLst>
        </pc:picChg>
        <pc:picChg chg="add mod">
          <ac:chgData name="Jobst, Hanna" userId="e86661fe-1388-4b75-a8f7-53b9f30bf181" providerId="ADAL" clId="{9EBA97F5-AA3D-A24B-BFAD-BF478EA5639D}" dt="2024-02-04T13:13:02.523" v="871" actId="1076"/>
          <ac:picMkLst>
            <pc:docMk/>
            <pc:sldMk cId="482519800" sldId="365"/>
            <ac:picMk id="1026" creationId="{84A7CAE5-AF3D-72FC-D284-C377B291B0E7}"/>
          </ac:picMkLst>
        </pc:picChg>
      </pc:sldChg>
      <pc:sldChg chg="addSp delSp modSp add del mod ord">
        <pc:chgData name="Jobst, Hanna" userId="e86661fe-1388-4b75-a8f7-53b9f30bf181" providerId="ADAL" clId="{9EBA97F5-AA3D-A24B-BFAD-BF478EA5639D}" dt="2024-02-07T18:44:48.049" v="1726" actId="2696"/>
        <pc:sldMkLst>
          <pc:docMk/>
          <pc:sldMk cId="3623923869" sldId="366"/>
        </pc:sldMkLst>
        <pc:spChg chg="del mod">
          <ac:chgData name="Jobst, Hanna" userId="e86661fe-1388-4b75-a8f7-53b9f30bf181" providerId="ADAL" clId="{9EBA97F5-AA3D-A24B-BFAD-BF478EA5639D}" dt="2024-02-04T13:17:59.281" v="1133" actId="478"/>
          <ac:spMkLst>
            <pc:docMk/>
            <pc:sldMk cId="3623923869" sldId="366"/>
            <ac:spMk id="2" creationId="{C7E6E11C-847D-8521-EBAA-63AF50ECFC81}"/>
          </ac:spMkLst>
        </pc:spChg>
        <pc:spChg chg="mod">
          <ac:chgData name="Jobst, Hanna" userId="e86661fe-1388-4b75-a8f7-53b9f30bf181" providerId="ADAL" clId="{9EBA97F5-AA3D-A24B-BFAD-BF478EA5639D}" dt="2024-02-04T13:21:47.319" v="1265" actId="14100"/>
          <ac:spMkLst>
            <pc:docMk/>
            <pc:sldMk cId="3623923869" sldId="366"/>
            <ac:spMk id="5" creationId="{49F7C224-A67F-0AC9-B1A3-79E90A6787D9}"/>
          </ac:spMkLst>
        </pc:spChg>
        <pc:spChg chg="mod">
          <ac:chgData name="Jobst, Hanna" userId="e86661fe-1388-4b75-a8f7-53b9f30bf181" providerId="ADAL" clId="{9EBA97F5-AA3D-A24B-BFAD-BF478EA5639D}" dt="2024-02-04T13:16:25.043" v="1043" actId="20577"/>
          <ac:spMkLst>
            <pc:docMk/>
            <pc:sldMk cId="3623923869" sldId="366"/>
            <ac:spMk id="6" creationId="{3D7352CA-305E-EF06-F5AB-C8D0448982D7}"/>
          </ac:spMkLst>
        </pc:spChg>
        <pc:spChg chg="add del mod modVis">
          <ac:chgData name="Jobst, Hanna" userId="e86661fe-1388-4b75-a8f7-53b9f30bf181" providerId="ADAL" clId="{9EBA97F5-AA3D-A24B-BFAD-BF478EA5639D}" dt="2024-02-04T13:16:15.646" v="947"/>
          <ac:spMkLst>
            <pc:docMk/>
            <pc:sldMk cId="3623923869" sldId="366"/>
            <ac:spMk id="7" creationId="{C298AF4E-0374-C032-16E8-1FC8050A1D53}"/>
          </ac:spMkLst>
        </pc:spChg>
        <pc:spChg chg="mod">
          <ac:chgData name="Jobst, Hanna" userId="e86661fe-1388-4b75-a8f7-53b9f30bf181" providerId="ADAL" clId="{9EBA97F5-AA3D-A24B-BFAD-BF478EA5639D}" dt="2024-02-04T13:16:44.194" v="1083" actId="20577"/>
          <ac:spMkLst>
            <pc:docMk/>
            <pc:sldMk cId="3623923869" sldId="366"/>
            <ac:spMk id="9" creationId="{EDDB66C0-C624-8781-FC39-0C68F7E917F8}"/>
          </ac:spMkLst>
        </pc:spChg>
        <pc:spChg chg="del">
          <ac:chgData name="Jobst, Hanna" userId="e86661fe-1388-4b75-a8f7-53b9f30bf181" providerId="ADAL" clId="{9EBA97F5-AA3D-A24B-BFAD-BF478EA5639D}" dt="2024-02-04T13:17:27.413" v="1129" actId="478"/>
          <ac:spMkLst>
            <pc:docMk/>
            <pc:sldMk cId="3623923869" sldId="366"/>
            <ac:spMk id="12" creationId="{EDEFF3B5-C2F5-23FE-1159-4098406939A0}"/>
          </ac:spMkLst>
        </pc:spChg>
        <pc:spChg chg="add del mod modVis">
          <ac:chgData name="Jobst, Hanna" userId="e86661fe-1388-4b75-a8f7-53b9f30bf181" providerId="ADAL" clId="{9EBA97F5-AA3D-A24B-BFAD-BF478EA5639D}" dt="2024-02-04T13:16:18.203" v="987"/>
          <ac:spMkLst>
            <pc:docMk/>
            <pc:sldMk cId="3623923869" sldId="366"/>
            <ac:spMk id="13" creationId="{24348F7B-51A5-D127-F3DA-0368ABB2F95B}"/>
          </ac:spMkLst>
        </pc:spChg>
        <pc:spChg chg="del">
          <ac:chgData name="Jobst, Hanna" userId="e86661fe-1388-4b75-a8f7-53b9f30bf181" providerId="ADAL" clId="{9EBA97F5-AA3D-A24B-BFAD-BF478EA5639D}" dt="2024-02-04T13:17:27.413" v="1129" actId="478"/>
          <ac:spMkLst>
            <pc:docMk/>
            <pc:sldMk cId="3623923869" sldId="366"/>
            <ac:spMk id="14" creationId="{435F3749-C149-F0B8-DD82-5E4E76274F88}"/>
          </ac:spMkLst>
        </pc:spChg>
        <pc:spChg chg="add del mod modVis">
          <ac:chgData name="Jobst, Hanna" userId="e86661fe-1388-4b75-a8f7-53b9f30bf181" providerId="ADAL" clId="{9EBA97F5-AA3D-A24B-BFAD-BF478EA5639D}" dt="2024-02-04T13:16:25.040" v="1041" actId="962"/>
          <ac:spMkLst>
            <pc:docMk/>
            <pc:sldMk cId="3623923869" sldId="366"/>
            <ac:spMk id="15" creationId="{3E0D78D7-5E1E-9241-60C5-AE276E979C0E}"/>
          </ac:spMkLst>
        </pc:spChg>
        <pc:spChg chg="del">
          <ac:chgData name="Jobst, Hanna" userId="e86661fe-1388-4b75-a8f7-53b9f30bf181" providerId="ADAL" clId="{9EBA97F5-AA3D-A24B-BFAD-BF478EA5639D}" dt="2024-02-04T13:17:27.413" v="1129" actId="478"/>
          <ac:spMkLst>
            <pc:docMk/>
            <pc:sldMk cId="3623923869" sldId="366"/>
            <ac:spMk id="16" creationId="{11D65EFD-70C6-FAE4-10AD-125BB02A5007}"/>
          </ac:spMkLst>
        </pc:spChg>
        <pc:spChg chg="add mod">
          <ac:chgData name="Jobst, Hanna" userId="e86661fe-1388-4b75-a8f7-53b9f30bf181" providerId="ADAL" clId="{9EBA97F5-AA3D-A24B-BFAD-BF478EA5639D}" dt="2024-02-04T13:17:55.752" v="1132"/>
          <ac:spMkLst>
            <pc:docMk/>
            <pc:sldMk cId="3623923869" sldId="366"/>
            <ac:spMk id="17" creationId="{3D7326D9-BA89-74DC-7800-35457E1239CA}"/>
          </ac:spMkLst>
        </pc:spChg>
        <pc:spChg chg="del">
          <ac:chgData name="Jobst, Hanna" userId="e86661fe-1388-4b75-a8f7-53b9f30bf181" providerId="ADAL" clId="{9EBA97F5-AA3D-A24B-BFAD-BF478EA5639D}" dt="2024-02-04T13:17:27.413" v="1129" actId="478"/>
          <ac:spMkLst>
            <pc:docMk/>
            <pc:sldMk cId="3623923869" sldId="366"/>
            <ac:spMk id="18" creationId="{96E707D5-27D0-7D29-1BFC-15EDA1BCA89B}"/>
          </ac:spMkLst>
        </pc:spChg>
        <pc:spChg chg="add mod">
          <ac:chgData name="Jobst, Hanna" userId="e86661fe-1388-4b75-a8f7-53b9f30bf181" providerId="ADAL" clId="{9EBA97F5-AA3D-A24B-BFAD-BF478EA5639D}" dt="2024-02-04T13:18:00.279" v="1134"/>
          <ac:spMkLst>
            <pc:docMk/>
            <pc:sldMk cId="3623923869" sldId="366"/>
            <ac:spMk id="21" creationId="{FD0AE296-BDF1-C993-6B04-CCF333C428DD}"/>
          </ac:spMkLst>
        </pc:spChg>
        <pc:graphicFrameChg chg="mod">
          <ac:chgData name="Jobst, Hanna" userId="e86661fe-1388-4b75-a8f7-53b9f30bf181" providerId="ADAL" clId="{9EBA97F5-AA3D-A24B-BFAD-BF478EA5639D}" dt="2024-02-04T13:16:25.146" v="1045"/>
          <ac:graphicFrameMkLst>
            <pc:docMk/>
            <pc:sldMk cId="3623923869" sldId="366"/>
            <ac:graphicFrameMk id="11" creationId="{82CF736D-8240-3CD3-A501-908134539A4D}"/>
          </ac:graphicFrameMkLst>
        </pc:graphicFrameChg>
        <pc:picChg chg="del">
          <ac:chgData name="Jobst, Hanna" userId="e86661fe-1388-4b75-a8f7-53b9f30bf181" providerId="ADAL" clId="{9EBA97F5-AA3D-A24B-BFAD-BF478EA5639D}" dt="2024-02-04T13:17:27.413" v="1129" actId="478"/>
          <ac:picMkLst>
            <pc:docMk/>
            <pc:sldMk cId="3623923869" sldId="366"/>
            <ac:picMk id="10" creationId="{EA416C4E-8DDA-27B4-80A3-8C166027E928}"/>
          </ac:picMkLst>
        </pc:picChg>
        <pc:picChg chg="del">
          <ac:chgData name="Jobst, Hanna" userId="e86661fe-1388-4b75-a8f7-53b9f30bf181" providerId="ADAL" clId="{9EBA97F5-AA3D-A24B-BFAD-BF478EA5639D}" dt="2024-02-04T13:17:27.413" v="1129" actId="478"/>
          <ac:picMkLst>
            <pc:docMk/>
            <pc:sldMk cId="3623923869" sldId="366"/>
            <ac:picMk id="19" creationId="{F8DF9E6B-305B-CEF5-0D58-153F8CF7661D}"/>
          </ac:picMkLst>
        </pc:picChg>
        <pc:picChg chg="del">
          <ac:chgData name="Jobst, Hanna" userId="e86661fe-1388-4b75-a8f7-53b9f30bf181" providerId="ADAL" clId="{9EBA97F5-AA3D-A24B-BFAD-BF478EA5639D}" dt="2024-02-04T13:17:27.413" v="1129" actId="478"/>
          <ac:picMkLst>
            <pc:docMk/>
            <pc:sldMk cId="3623923869" sldId="366"/>
            <ac:picMk id="20" creationId="{49F7A31A-84B5-CD8E-1C28-B23A98BDA29E}"/>
          </ac:picMkLst>
        </pc:picChg>
        <pc:picChg chg="del">
          <ac:chgData name="Jobst, Hanna" userId="e86661fe-1388-4b75-a8f7-53b9f30bf181" providerId="ADAL" clId="{9EBA97F5-AA3D-A24B-BFAD-BF478EA5639D}" dt="2024-02-04T13:17:27.413" v="1129" actId="478"/>
          <ac:picMkLst>
            <pc:docMk/>
            <pc:sldMk cId="3623923869" sldId="366"/>
            <ac:picMk id="22" creationId="{973523AE-4C81-CC78-5B00-33463E7BFA6D}"/>
          </ac:picMkLst>
        </pc:picChg>
      </pc:sldChg>
      <pc:sldChg chg="addSp delSp modSp new mod">
        <pc:chgData name="Jobst, Hanna" userId="e86661fe-1388-4b75-a8f7-53b9f30bf181" providerId="ADAL" clId="{9EBA97F5-AA3D-A24B-BFAD-BF478EA5639D}" dt="2024-02-08T13:51:17.508" v="5049"/>
        <pc:sldMkLst>
          <pc:docMk/>
          <pc:sldMk cId="3195248987" sldId="367"/>
        </pc:sldMkLst>
        <pc:spChg chg="mod">
          <ac:chgData name="Jobst, Hanna" userId="e86661fe-1388-4b75-a8f7-53b9f30bf181" providerId="ADAL" clId="{9EBA97F5-AA3D-A24B-BFAD-BF478EA5639D}" dt="2024-02-04T13:42:37.345" v="1425" actId="20577"/>
          <ac:spMkLst>
            <pc:docMk/>
            <pc:sldMk cId="3195248987" sldId="367"/>
            <ac:spMk id="5" creationId="{9B41795F-E715-6613-5BAE-EB8F5F2DCEFB}"/>
          </ac:spMkLst>
        </pc:spChg>
        <pc:spChg chg="mod">
          <ac:chgData name="Jobst, Hanna" userId="e86661fe-1388-4b75-a8f7-53b9f30bf181" providerId="ADAL" clId="{9EBA97F5-AA3D-A24B-BFAD-BF478EA5639D}" dt="2024-02-04T13:43:53.462" v="1520" actId="20577"/>
          <ac:spMkLst>
            <pc:docMk/>
            <pc:sldMk cId="3195248987" sldId="367"/>
            <ac:spMk id="6" creationId="{BF7CD29C-5B06-9200-7B7D-90C59C7763C1}"/>
          </ac:spMkLst>
        </pc:spChg>
        <pc:spChg chg="mod">
          <ac:chgData name="Jobst, Hanna" userId="e86661fe-1388-4b75-a8f7-53b9f30bf181" providerId="ADAL" clId="{9EBA97F5-AA3D-A24B-BFAD-BF478EA5639D}" dt="2024-02-04T13:43:22.224" v="1479" actId="20577"/>
          <ac:spMkLst>
            <pc:docMk/>
            <pc:sldMk cId="3195248987" sldId="367"/>
            <ac:spMk id="7" creationId="{6AC55FFE-0CB9-0867-33E0-8F17F2A8179B}"/>
          </ac:spMkLst>
        </pc:spChg>
        <pc:spChg chg="mod">
          <ac:chgData name="Jobst, Hanna" userId="e86661fe-1388-4b75-a8f7-53b9f30bf181" providerId="ADAL" clId="{9EBA97F5-AA3D-A24B-BFAD-BF478EA5639D}" dt="2024-02-04T13:44:00.080" v="1526" actId="20577"/>
          <ac:spMkLst>
            <pc:docMk/>
            <pc:sldMk cId="3195248987" sldId="367"/>
            <ac:spMk id="8" creationId="{47C575C0-A9A1-349C-7FE5-4195104CF047}"/>
          </ac:spMkLst>
        </pc:spChg>
        <pc:spChg chg="mod">
          <ac:chgData name="Jobst, Hanna" userId="e86661fe-1388-4b75-a8f7-53b9f30bf181" providerId="ADAL" clId="{9EBA97F5-AA3D-A24B-BFAD-BF478EA5639D}" dt="2024-02-04T13:43:41.241" v="1516" actId="20577"/>
          <ac:spMkLst>
            <pc:docMk/>
            <pc:sldMk cId="3195248987" sldId="367"/>
            <ac:spMk id="9" creationId="{37DF9F15-632E-F0D1-1D78-4D2F68AF2659}"/>
          </ac:spMkLst>
        </pc:spChg>
        <pc:spChg chg="mod">
          <ac:chgData name="Jobst, Hanna" userId="e86661fe-1388-4b75-a8f7-53b9f30bf181" providerId="ADAL" clId="{9EBA97F5-AA3D-A24B-BFAD-BF478EA5639D}" dt="2024-02-04T13:43:55.680" v="1522" actId="20577"/>
          <ac:spMkLst>
            <pc:docMk/>
            <pc:sldMk cId="3195248987" sldId="367"/>
            <ac:spMk id="10" creationId="{B1793DA7-96EC-D77E-EBA9-69BE1EAFC111}"/>
          </ac:spMkLst>
        </pc:spChg>
        <pc:spChg chg="mod">
          <ac:chgData name="Jobst, Hanna" userId="e86661fe-1388-4b75-a8f7-53b9f30bf181" providerId="ADAL" clId="{9EBA97F5-AA3D-A24B-BFAD-BF478EA5639D}" dt="2024-02-04T13:42:53.669" v="1446" actId="20577"/>
          <ac:spMkLst>
            <pc:docMk/>
            <pc:sldMk cId="3195248987" sldId="367"/>
            <ac:spMk id="11" creationId="{8AFF0FCA-7B33-D270-7D50-65A0D5828299}"/>
          </ac:spMkLst>
        </pc:spChg>
        <pc:spChg chg="mod">
          <ac:chgData name="Jobst, Hanna" userId="e86661fe-1388-4b75-a8f7-53b9f30bf181" providerId="ADAL" clId="{9EBA97F5-AA3D-A24B-BFAD-BF478EA5639D}" dt="2024-02-04T13:43:57.851" v="1524" actId="20577"/>
          <ac:spMkLst>
            <pc:docMk/>
            <pc:sldMk cId="3195248987" sldId="367"/>
            <ac:spMk id="12" creationId="{E0F1CCA9-CD9C-5D8F-3644-A2BA8B8D98E8}"/>
          </ac:spMkLst>
        </pc:spChg>
        <pc:spChg chg="mod">
          <ac:chgData name="Jobst, Hanna" userId="e86661fe-1388-4b75-a8f7-53b9f30bf181" providerId="ADAL" clId="{9EBA97F5-AA3D-A24B-BFAD-BF478EA5639D}" dt="2024-02-04T13:43:04.323" v="1466" actId="20577"/>
          <ac:spMkLst>
            <pc:docMk/>
            <pc:sldMk cId="3195248987" sldId="367"/>
            <ac:spMk id="13" creationId="{0E075241-018C-8922-A59E-6365BAE3A471}"/>
          </ac:spMkLst>
        </pc:spChg>
        <pc:spChg chg="mod">
          <ac:chgData name="Jobst, Hanna" userId="e86661fe-1388-4b75-a8f7-53b9f30bf181" providerId="ADAL" clId="{9EBA97F5-AA3D-A24B-BFAD-BF478EA5639D}" dt="2024-02-04T13:44:02.075" v="1528" actId="20577"/>
          <ac:spMkLst>
            <pc:docMk/>
            <pc:sldMk cId="3195248987" sldId="367"/>
            <ac:spMk id="14" creationId="{9CD8A074-D9E0-9AE0-642F-A4FC96AADD33}"/>
          </ac:spMkLst>
        </pc:spChg>
        <pc:spChg chg="mod">
          <ac:chgData name="Jobst, Hanna" userId="e86661fe-1388-4b75-a8f7-53b9f30bf181" providerId="ADAL" clId="{9EBA97F5-AA3D-A24B-BFAD-BF478EA5639D}" dt="2024-02-04T13:27:05.646" v="1338" actId="948"/>
          <ac:spMkLst>
            <pc:docMk/>
            <pc:sldMk cId="3195248987" sldId="367"/>
            <ac:spMk id="27" creationId="{BFC7BAF2-C79A-3C43-048A-5F68993AF482}"/>
          </ac:spMkLst>
        </pc:spChg>
        <pc:spChg chg="mod">
          <ac:chgData name="Jobst, Hanna" userId="e86661fe-1388-4b75-a8f7-53b9f30bf181" providerId="ADAL" clId="{9EBA97F5-AA3D-A24B-BFAD-BF478EA5639D}" dt="2024-02-04T13:22:20.793" v="1273" actId="20577"/>
          <ac:spMkLst>
            <pc:docMk/>
            <pc:sldMk cId="3195248987" sldId="367"/>
            <ac:spMk id="28" creationId="{9C30AC94-5B61-681D-588E-7074643DFF8C}"/>
          </ac:spMkLst>
        </pc:spChg>
        <pc:spChg chg="mod">
          <ac:chgData name="Jobst, Hanna" userId="e86661fe-1388-4b75-a8f7-53b9f30bf181" providerId="ADAL" clId="{9EBA97F5-AA3D-A24B-BFAD-BF478EA5639D}" dt="2024-02-04T13:43:27.426" v="1483" actId="20577"/>
          <ac:spMkLst>
            <pc:docMk/>
            <pc:sldMk cId="3195248987" sldId="367"/>
            <ac:spMk id="29" creationId="{005BC0A4-6FFC-904A-0B73-A27FBA6CB9D1}"/>
          </ac:spMkLst>
        </pc:spChg>
        <pc:spChg chg="mod">
          <ac:chgData name="Jobst, Hanna" userId="e86661fe-1388-4b75-a8f7-53b9f30bf181" providerId="ADAL" clId="{9EBA97F5-AA3D-A24B-BFAD-BF478EA5639D}" dt="2024-02-04T13:43:50.163" v="1518" actId="20577"/>
          <ac:spMkLst>
            <pc:docMk/>
            <pc:sldMk cId="3195248987" sldId="367"/>
            <ac:spMk id="30" creationId="{CFA2F375-8361-B7C9-306E-52BFC3CE9807}"/>
          </ac:spMkLst>
        </pc:spChg>
        <pc:spChg chg="add del mod modVis">
          <ac:chgData name="Jobst, Hanna" userId="e86661fe-1388-4b75-a8f7-53b9f30bf181" providerId="ADAL" clId="{9EBA97F5-AA3D-A24B-BFAD-BF478EA5639D}" dt="2024-02-04T13:27:03.542" v="1322"/>
          <ac:spMkLst>
            <pc:docMk/>
            <pc:sldMk cId="3195248987" sldId="367"/>
            <ac:spMk id="32" creationId="{A4D95A6B-BAAE-F344-0BB3-E027623BC724}"/>
          </ac:spMkLst>
        </pc:spChg>
        <pc:spChg chg="del">
          <ac:chgData name="Jobst, Hanna" userId="e86661fe-1388-4b75-a8f7-53b9f30bf181" providerId="ADAL" clId="{9EBA97F5-AA3D-A24B-BFAD-BF478EA5639D}" dt="2024-02-08T13:51:17.133" v="5048" actId="478"/>
          <ac:spMkLst>
            <pc:docMk/>
            <pc:sldMk cId="3195248987" sldId="367"/>
            <ac:spMk id="32" creationId="{B6F7D1B7-B02E-51FB-EC47-22607931E8CB}"/>
          </ac:spMkLst>
        </pc:spChg>
        <pc:spChg chg="add del mod modVis">
          <ac:chgData name="Jobst, Hanna" userId="e86661fe-1388-4b75-a8f7-53b9f30bf181" providerId="ADAL" clId="{9EBA97F5-AA3D-A24B-BFAD-BF478EA5639D}" dt="2024-02-04T13:27:05.701" v="1362"/>
          <ac:spMkLst>
            <pc:docMk/>
            <pc:sldMk cId="3195248987" sldId="367"/>
            <ac:spMk id="34" creationId="{8153E533-7F73-F5E1-398E-BF6C199150B3}"/>
          </ac:spMkLst>
        </pc:spChg>
        <pc:spChg chg="add mod">
          <ac:chgData name="Jobst, Hanna" userId="e86661fe-1388-4b75-a8f7-53b9f30bf181" providerId="ADAL" clId="{9EBA97F5-AA3D-A24B-BFAD-BF478EA5639D}" dt="2024-02-08T13:51:17.508" v="5049"/>
          <ac:spMkLst>
            <pc:docMk/>
            <pc:sldMk cId="3195248987" sldId="367"/>
            <ac:spMk id="34" creationId="{C101514C-DE67-0716-BE2A-DF6BEB932139}"/>
          </ac:spMkLst>
        </pc:spChg>
        <pc:graphicFrameChg chg="add mod modVis replST">
          <ac:chgData name="Jobst, Hanna" userId="e86661fe-1388-4b75-a8f7-53b9f30bf181" providerId="ADAL" clId="{9EBA97F5-AA3D-A24B-BFAD-BF478EA5639D}" dt="2024-02-04T13:27:05.704" v="1364"/>
          <ac:graphicFrameMkLst>
            <pc:docMk/>
            <pc:sldMk cId="3195248987" sldId="367"/>
            <ac:graphicFrameMk id="33" creationId="{9CA0DCBE-0763-4B3B-D266-1645CD2936EF}"/>
          </ac:graphicFrameMkLst>
        </pc:graphicFrameChg>
      </pc:sldChg>
      <pc:sldChg chg="modSp new mod ord">
        <pc:chgData name="Jobst, Hanna" userId="e86661fe-1388-4b75-a8f7-53b9f30bf181" providerId="ADAL" clId="{9EBA97F5-AA3D-A24B-BFAD-BF478EA5639D}" dt="2024-02-04T13:27:32.469" v="1392" actId="20577"/>
        <pc:sldMkLst>
          <pc:docMk/>
          <pc:sldMk cId="2746257347" sldId="368"/>
        </pc:sldMkLst>
        <pc:spChg chg="mod">
          <ac:chgData name="Jobst, Hanna" userId="e86661fe-1388-4b75-a8f7-53b9f30bf181" providerId="ADAL" clId="{9EBA97F5-AA3D-A24B-BFAD-BF478EA5639D}" dt="2024-02-04T13:27:32.469" v="1392" actId="20577"/>
          <ac:spMkLst>
            <pc:docMk/>
            <pc:sldMk cId="2746257347" sldId="368"/>
            <ac:spMk id="5" creationId="{6764AB36-2C6A-7155-6A21-32991FD0BD99}"/>
          </ac:spMkLst>
        </pc:spChg>
        <pc:spChg chg="mod">
          <ac:chgData name="Jobst, Hanna" userId="e86661fe-1388-4b75-a8f7-53b9f30bf181" providerId="ADAL" clId="{9EBA97F5-AA3D-A24B-BFAD-BF478EA5639D}" dt="2024-02-04T13:27:23.673" v="1373" actId="20577"/>
          <ac:spMkLst>
            <pc:docMk/>
            <pc:sldMk cId="2746257347" sldId="368"/>
            <ac:spMk id="8" creationId="{0FB49FCF-714C-1EAC-1C85-944885424D79}"/>
          </ac:spMkLst>
        </pc:spChg>
      </pc:sldChg>
      <pc:sldChg chg="addSp delSp modSp mod">
        <pc:chgData name="Jobst, Hanna" userId="e86661fe-1388-4b75-a8f7-53b9f30bf181" providerId="ADAL" clId="{9EBA97F5-AA3D-A24B-BFAD-BF478EA5639D}" dt="2024-02-08T14:18:03.717" v="5862"/>
        <pc:sldMkLst>
          <pc:docMk/>
          <pc:sldMk cId="2122025321" sldId="369"/>
        </pc:sldMkLst>
        <pc:spChg chg="del">
          <ac:chgData name="Jobst, Hanna" userId="e86661fe-1388-4b75-a8f7-53b9f30bf181" providerId="ADAL" clId="{9EBA97F5-AA3D-A24B-BFAD-BF478EA5639D}" dt="2024-02-08T08:57:31.494" v="2527" actId="478"/>
          <ac:spMkLst>
            <pc:docMk/>
            <pc:sldMk cId="2122025321" sldId="369"/>
            <ac:spMk id="2" creationId="{7187B2F2-433D-7425-F2F0-3EF04A09E10F}"/>
          </ac:spMkLst>
        </pc:spChg>
        <pc:spChg chg="add mod">
          <ac:chgData name="Jobst, Hanna" userId="e86661fe-1388-4b75-a8f7-53b9f30bf181" providerId="ADAL" clId="{9EBA97F5-AA3D-A24B-BFAD-BF478EA5639D}" dt="2024-02-08T08:57:28.906" v="2526"/>
          <ac:spMkLst>
            <pc:docMk/>
            <pc:sldMk cId="2122025321" sldId="369"/>
            <ac:spMk id="5" creationId="{CEE4B6B9-17B2-DCDA-63B4-63CA5DC790A0}"/>
          </ac:spMkLst>
        </pc:spChg>
        <pc:spChg chg="mod">
          <ac:chgData name="Jobst, Hanna" userId="e86661fe-1388-4b75-a8f7-53b9f30bf181" providerId="ADAL" clId="{9EBA97F5-AA3D-A24B-BFAD-BF478EA5639D}" dt="2024-02-08T14:18:03.658" v="5836" actId="948"/>
          <ac:spMkLst>
            <pc:docMk/>
            <pc:sldMk cId="2122025321" sldId="369"/>
            <ac:spMk id="6" creationId="{E72D25D9-3CC3-2DAF-FAC8-02BBC484BA69}"/>
          </ac:spMkLst>
        </pc:spChg>
        <pc:spChg chg="del mod">
          <ac:chgData name="Jobst, Hanna" userId="e86661fe-1388-4b75-a8f7-53b9f30bf181" providerId="ADAL" clId="{9EBA97F5-AA3D-A24B-BFAD-BF478EA5639D}" dt="2024-02-08T13:51:25.730" v="5053" actId="478"/>
          <ac:spMkLst>
            <pc:docMk/>
            <pc:sldMk cId="2122025321" sldId="369"/>
            <ac:spMk id="7" creationId="{1EAB2257-5083-1085-B09C-835564C9E2FA}"/>
          </ac:spMkLst>
        </pc:spChg>
        <pc:spChg chg="add del mod modVis">
          <ac:chgData name="Jobst, Hanna" userId="e86661fe-1388-4b75-a8f7-53b9f30bf181" providerId="ADAL" clId="{9EBA97F5-AA3D-A24B-BFAD-BF478EA5639D}" dt="2024-02-08T13:19:37.667" v="3935"/>
          <ac:spMkLst>
            <pc:docMk/>
            <pc:sldMk cId="2122025321" sldId="369"/>
            <ac:spMk id="12" creationId="{92D54B7A-0D69-7483-B8C1-3F4CA862CC55}"/>
          </ac:spMkLst>
        </pc:spChg>
        <pc:spChg chg="add mod">
          <ac:chgData name="Jobst, Hanna" userId="e86661fe-1388-4b75-a8f7-53b9f30bf181" providerId="ADAL" clId="{9EBA97F5-AA3D-A24B-BFAD-BF478EA5639D}" dt="2024-02-08T13:51:21.825" v="5051"/>
          <ac:spMkLst>
            <pc:docMk/>
            <pc:sldMk cId="2122025321" sldId="369"/>
            <ac:spMk id="13" creationId="{AFC098EB-F8B7-7E7A-EE54-A314DB836E30}"/>
          </ac:spMkLst>
        </pc:spChg>
        <pc:spChg chg="add del mod modVis">
          <ac:chgData name="Jobst, Hanna" userId="e86661fe-1388-4b75-a8f7-53b9f30bf181" providerId="ADAL" clId="{9EBA97F5-AA3D-A24B-BFAD-BF478EA5639D}" dt="2024-02-08T14:18:03.714" v="5860"/>
          <ac:spMkLst>
            <pc:docMk/>
            <pc:sldMk cId="2122025321" sldId="369"/>
            <ac:spMk id="14" creationId="{866E4536-2D62-7804-7C28-9AA56A0457F6}"/>
          </ac:spMkLst>
        </pc:spChg>
        <pc:graphicFrameChg chg="mod">
          <ac:chgData name="Jobst, Hanna" userId="e86661fe-1388-4b75-a8f7-53b9f30bf181" providerId="ADAL" clId="{9EBA97F5-AA3D-A24B-BFAD-BF478EA5639D}" dt="2024-02-08T14:18:03.717" v="5862"/>
          <ac:graphicFrameMkLst>
            <pc:docMk/>
            <pc:sldMk cId="2122025321" sldId="369"/>
            <ac:graphicFrameMk id="11" creationId="{9E46F399-3C92-3C01-518A-0B6ED8427862}"/>
          </ac:graphicFrameMkLst>
        </pc:graphicFrameChg>
        <pc:picChg chg="mod">
          <ac:chgData name="Jobst, Hanna" userId="e86661fe-1388-4b75-a8f7-53b9f30bf181" providerId="ADAL" clId="{9EBA97F5-AA3D-A24B-BFAD-BF478EA5639D}" dt="2024-02-08T13:21:34.797" v="3938"/>
          <ac:picMkLst>
            <pc:docMk/>
            <pc:sldMk cId="2122025321" sldId="369"/>
            <ac:picMk id="10" creationId="{81C4051F-6BDC-AA3C-A473-D5267FA5CE1D}"/>
          </ac:picMkLst>
        </pc:picChg>
        <pc:picChg chg="mod">
          <ac:chgData name="Jobst, Hanna" userId="e86661fe-1388-4b75-a8f7-53b9f30bf181" providerId="ADAL" clId="{9EBA97F5-AA3D-A24B-BFAD-BF478EA5639D}" dt="2024-02-08T13:21:34.797" v="3938"/>
          <ac:picMkLst>
            <pc:docMk/>
            <pc:sldMk cId="2122025321" sldId="369"/>
            <ac:picMk id="17" creationId="{0FECAE90-04AC-6919-3DA9-2DD611F16EFC}"/>
          </ac:picMkLst>
        </pc:picChg>
        <pc:picChg chg="mod">
          <ac:chgData name="Jobst, Hanna" userId="e86661fe-1388-4b75-a8f7-53b9f30bf181" providerId="ADAL" clId="{9EBA97F5-AA3D-A24B-BFAD-BF478EA5639D}" dt="2024-02-08T13:21:34.797" v="3938"/>
          <ac:picMkLst>
            <pc:docMk/>
            <pc:sldMk cId="2122025321" sldId="369"/>
            <ac:picMk id="26" creationId="{54DD2E84-4F41-EABB-83F3-163F6B2AEF5C}"/>
          </ac:picMkLst>
        </pc:picChg>
      </pc:sldChg>
      <pc:sldChg chg="addSp delSp modSp mod modNotesTx">
        <pc:chgData name="Jobst, Hanna" userId="e86661fe-1388-4b75-a8f7-53b9f30bf181" providerId="ADAL" clId="{9EBA97F5-AA3D-A24B-BFAD-BF478EA5639D}" dt="2024-02-08T15:50:12.709" v="6623" actId="20577"/>
        <pc:sldMkLst>
          <pc:docMk/>
          <pc:sldMk cId="2229614898" sldId="370"/>
        </pc:sldMkLst>
        <pc:spChg chg="del">
          <ac:chgData name="Jobst, Hanna" userId="e86661fe-1388-4b75-a8f7-53b9f30bf181" providerId="ADAL" clId="{9EBA97F5-AA3D-A24B-BFAD-BF478EA5639D}" dt="2024-02-08T14:22:20.002" v="6159" actId="478"/>
          <ac:spMkLst>
            <pc:docMk/>
            <pc:sldMk cId="2229614898" sldId="370"/>
            <ac:spMk id="5" creationId="{ABA2A0CC-EC8D-8EB6-4739-96D3576A6B63}"/>
          </ac:spMkLst>
        </pc:spChg>
        <pc:spChg chg="mod">
          <ac:chgData name="Jobst, Hanna" userId="e86661fe-1388-4b75-a8f7-53b9f30bf181" providerId="ADAL" clId="{9EBA97F5-AA3D-A24B-BFAD-BF478EA5639D}" dt="2024-02-08T09:03:14.483" v="2769" actId="948"/>
          <ac:spMkLst>
            <pc:docMk/>
            <pc:sldMk cId="2229614898" sldId="370"/>
            <ac:spMk id="6" creationId="{D9F6CB96-14FA-2397-5FBB-680AFE48762F}"/>
          </ac:spMkLst>
        </pc:spChg>
        <pc:spChg chg="mod">
          <ac:chgData name="Jobst, Hanna" userId="e86661fe-1388-4b75-a8f7-53b9f30bf181" providerId="ADAL" clId="{9EBA97F5-AA3D-A24B-BFAD-BF478EA5639D}" dt="2024-02-08T08:58:45.425" v="2545" actId="20577"/>
          <ac:spMkLst>
            <pc:docMk/>
            <pc:sldMk cId="2229614898" sldId="370"/>
            <ac:spMk id="8" creationId="{9FF3621E-4E0C-8215-0BC2-291EC819CCE5}"/>
          </ac:spMkLst>
        </pc:spChg>
        <pc:spChg chg="add del mod modVis">
          <ac:chgData name="Jobst, Hanna" userId="e86661fe-1388-4b75-a8f7-53b9f30bf181" providerId="ADAL" clId="{9EBA97F5-AA3D-A24B-BFAD-BF478EA5639D}" dt="2024-02-08T08:59:22.068" v="2632"/>
          <ac:spMkLst>
            <pc:docMk/>
            <pc:sldMk cId="2229614898" sldId="370"/>
            <ac:spMk id="11" creationId="{40060042-FF78-C6F5-B237-731FB2A04467}"/>
          </ac:spMkLst>
        </pc:spChg>
        <pc:spChg chg="mod">
          <ac:chgData name="Jobst, Hanna" userId="e86661fe-1388-4b75-a8f7-53b9f30bf181" providerId="ADAL" clId="{9EBA97F5-AA3D-A24B-BFAD-BF478EA5639D}" dt="2024-02-08T15:49:20.129" v="6612" actId="20577"/>
          <ac:spMkLst>
            <pc:docMk/>
            <pc:sldMk cId="2229614898" sldId="370"/>
            <ac:spMk id="13" creationId="{3346FFA5-9EB3-987C-09D5-5D4E5300A283}"/>
          </ac:spMkLst>
        </pc:spChg>
        <pc:spChg chg="add del mod modVis">
          <ac:chgData name="Jobst, Hanna" userId="e86661fe-1388-4b75-a8f7-53b9f30bf181" providerId="ADAL" clId="{9EBA97F5-AA3D-A24B-BFAD-BF478EA5639D}" dt="2024-02-08T08:59:23.738" v="2661"/>
          <ac:spMkLst>
            <pc:docMk/>
            <pc:sldMk cId="2229614898" sldId="370"/>
            <ac:spMk id="14" creationId="{A918CD21-B399-00CE-2AA8-E7848311A406}"/>
          </ac:spMkLst>
        </pc:spChg>
        <pc:spChg chg="mod">
          <ac:chgData name="Jobst, Hanna" userId="e86661fe-1388-4b75-a8f7-53b9f30bf181" providerId="ADAL" clId="{9EBA97F5-AA3D-A24B-BFAD-BF478EA5639D}" dt="2024-02-08T15:49:21.800" v="6613" actId="20577"/>
          <ac:spMkLst>
            <pc:docMk/>
            <pc:sldMk cId="2229614898" sldId="370"/>
            <ac:spMk id="16" creationId="{C4D2B0D6-69CF-C643-7ABC-F705418198B8}"/>
          </ac:spMkLst>
        </pc:spChg>
        <pc:spChg chg="add del mod modVis">
          <ac:chgData name="Jobst, Hanna" userId="e86661fe-1388-4b75-a8f7-53b9f30bf181" providerId="ADAL" clId="{9EBA97F5-AA3D-A24B-BFAD-BF478EA5639D}" dt="2024-02-08T08:59:26.377" v="2700"/>
          <ac:spMkLst>
            <pc:docMk/>
            <pc:sldMk cId="2229614898" sldId="370"/>
            <ac:spMk id="17" creationId="{D3834C90-F50A-0580-2C10-F513F3AC4494}"/>
          </ac:spMkLst>
        </pc:spChg>
        <pc:spChg chg="mod">
          <ac:chgData name="Jobst, Hanna" userId="e86661fe-1388-4b75-a8f7-53b9f30bf181" providerId="ADAL" clId="{9EBA97F5-AA3D-A24B-BFAD-BF478EA5639D}" dt="2024-02-08T15:49:24.602" v="6614" actId="20577"/>
          <ac:spMkLst>
            <pc:docMk/>
            <pc:sldMk cId="2229614898" sldId="370"/>
            <ac:spMk id="19" creationId="{3C76D11F-C30D-AA51-1960-FCE9FCABE07A}"/>
          </ac:spMkLst>
        </pc:spChg>
        <pc:spChg chg="add del mod modVis">
          <ac:chgData name="Jobst, Hanna" userId="e86661fe-1388-4b75-a8f7-53b9f30bf181" providerId="ADAL" clId="{9EBA97F5-AA3D-A24B-BFAD-BF478EA5639D}" dt="2024-02-08T09:03:11.359" v="2728"/>
          <ac:spMkLst>
            <pc:docMk/>
            <pc:sldMk cId="2229614898" sldId="370"/>
            <ac:spMk id="20" creationId="{CB5939ED-DDF2-4E41-5D14-F9A95C2A6FA3}"/>
          </ac:spMkLst>
        </pc:spChg>
        <pc:spChg chg="mod">
          <ac:chgData name="Jobst, Hanna" userId="e86661fe-1388-4b75-a8f7-53b9f30bf181" providerId="ADAL" clId="{9EBA97F5-AA3D-A24B-BFAD-BF478EA5639D}" dt="2024-02-08T15:49:17.738" v="6611" actId="20577"/>
          <ac:spMkLst>
            <pc:docMk/>
            <pc:sldMk cId="2229614898" sldId="370"/>
            <ac:spMk id="22" creationId="{119C687F-7862-F67C-D374-8167EACBA2FD}"/>
          </ac:spMkLst>
        </pc:spChg>
        <pc:spChg chg="add del mod modVis">
          <ac:chgData name="Jobst, Hanna" userId="e86661fe-1388-4b75-a8f7-53b9f30bf181" providerId="ADAL" clId="{9EBA97F5-AA3D-A24B-BFAD-BF478EA5639D}" dt="2024-02-08T09:03:11.951" v="2756"/>
          <ac:spMkLst>
            <pc:docMk/>
            <pc:sldMk cId="2229614898" sldId="370"/>
            <ac:spMk id="23" creationId="{71169E84-2F88-115E-94AC-7E9C360870D7}"/>
          </ac:spMkLst>
        </pc:spChg>
        <pc:spChg chg="add del mod modVis">
          <ac:chgData name="Jobst, Hanna" userId="e86661fe-1388-4b75-a8f7-53b9f30bf181" providerId="ADAL" clId="{9EBA97F5-AA3D-A24B-BFAD-BF478EA5639D}" dt="2024-02-08T09:03:14.534" v="2793"/>
          <ac:spMkLst>
            <pc:docMk/>
            <pc:sldMk cId="2229614898" sldId="370"/>
            <ac:spMk id="24" creationId="{4DE76657-507D-5C47-2ABE-F7A8F9B9A951}"/>
          </ac:spMkLst>
        </pc:spChg>
        <pc:spChg chg="add mod">
          <ac:chgData name="Jobst, Hanna" userId="e86661fe-1388-4b75-a8f7-53b9f30bf181" providerId="ADAL" clId="{9EBA97F5-AA3D-A24B-BFAD-BF478EA5639D}" dt="2024-02-08T14:22:20.665" v="6160"/>
          <ac:spMkLst>
            <pc:docMk/>
            <pc:sldMk cId="2229614898" sldId="370"/>
            <ac:spMk id="25" creationId="{C5528EDC-BFC5-12F9-6C15-4BCA347947A9}"/>
          </ac:spMkLst>
        </pc:spChg>
        <pc:graphicFrameChg chg="add mod modVis replST">
          <ac:chgData name="Jobst, Hanna" userId="e86661fe-1388-4b75-a8f7-53b9f30bf181" providerId="ADAL" clId="{9EBA97F5-AA3D-A24B-BFAD-BF478EA5639D}" dt="2024-02-08T09:03:14.538" v="2795"/>
          <ac:graphicFrameMkLst>
            <pc:docMk/>
            <pc:sldMk cId="2229614898" sldId="370"/>
            <ac:graphicFrameMk id="9" creationId="{38982CC6-A48B-49E3-D63D-AF02573B774B}"/>
          </ac:graphicFrameMkLst>
        </pc:graphicFrameChg>
        <pc:picChg chg="mod">
          <ac:chgData name="Jobst, Hanna" userId="e86661fe-1388-4b75-a8f7-53b9f30bf181" providerId="ADAL" clId="{9EBA97F5-AA3D-A24B-BFAD-BF478EA5639D}" dt="2024-02-08T15:49:39.989" v="6620" actId="1038"/>
          <ac:picMkLst>
            <pc:docMk/>
            <pc:sldMk cId="2229614898" sldId="370"/>
            <ac:picMk id="12" creationId="{A9BFD2F2-ACA4-3ADF-7A57-EC842241AF6C}"/>
          </ac:picMkLst>
        </pc:picChg>
        <pc:picChg chg="mod">
          <ac:chgData name="Jobst, Hanna" userId="e86661fe-1388-4b75-a8f7-53b9f30bf181" providerId="ADAL" clId="{9EBA97F5-AA3D-A24B-BFAD-BF478EA5639D}" dt="2024-02-08T15:49:39.989" v="6620" actId="1038"/>
          <ac:picMkLst>
            <pc:docMk/>
            <pc:sldMk cId="2229614898" sldId="370"/>
            <ac:picMk id="15" creationId="{7FC6BB23-CDEF-AEAC-FCDB-73B8A5C10F2D}"/>
          </ac:picMkLst>
        </pc:picChg>
        <pc:picChg chg="mod">
          <ac:chgData name="Jobst, Hanna" userId="e86661fe-1388-4b75-a8f7-53b9f30bf181" providerId="ADAL" clId="{9EBA97F5-AA3D-A24B-BFAD-BF478EA5639D}" dt="2024-02-08T15:49:39.989" v="6620" actId="1038"/>
          <ac:picMkLst>
            <pc:docMk/>
            <pc:sldMk cId="2229614898" sldId="370"/>
            <ac:picMk id="18" creationId="{2F53E676-6F2C-FC2C-BCB3-298DECF09D39}"/>
          </ac:picMkLst>
        </pc:picChg>
        <pc:picChg chg="mod">
          <ac:chgData name="Jobst, Hanna" userId="e86661fe-1388-4b75-a8f7-53b9f30bf181" providerId="ADAL" clId="{9EBA97F5-AA3D-A24B-BFAD-BF478EA5639D}" dt="2024-02-08T15:49:39.989" v="6620" actId="1038"/>
          <ac:picMkLst>
            <pc:docMk/>
            <pc:sldMk cId="2229614898" sldId="370"/>
            <ac:picMk id="21" creationId="{06CE9058-A4EC-2E7A-3EDB-6328889DD752}"/>
          </ac:picMkLst>
        </pc:picChg>
      </pc:sldChg>
      <pc:sldChg chg="addSp delSp modSp mod modNotesTx">
        <pc:chgData name="Jobst, Hanna" userId="e86661fe-1388-4b75-a8f7-53b9f30bf181" providerId="ADAL" clId="{9EBA97F5-AA3D-A24B-BFAD-BF478EA5639D}" dt="2024-02-08T16:05:16.884" v="6799"/>
        <pc:sldMkLst>
          <pc:docMk/>
          <pc:sldMk cId="1462217075" sldId="371"/>
        </pc:sldMkLst>
        <pc:spChg chg="del">
          <ac:chgData name="Jobst, Hanna" userId="e86661fe-1388-4b75-a8f7-53b9f30bf181" providerId="ADAL" clId="{9EBA97F5-AA3D-A24B-BFAD-BF478EA5639D}" dt="2024-02-08T14:22:23.760" v="6161" actId="478"/>
          <ac:spMkLst>
            <pc:docMk/>
            <pc:sldMk cId="1462217075" sldId="371"/>
            <ac:spMk id="5" creationId="{77468CEF-76BE-CBA4-B1C6-FFDE79E624B4}"/>
          </ac:spMkLst>
        </pc:spChg>
        <pc:spChg chg="add del mod modVis">
          <ac:chgData name="Jobst, Hanna" userId="e86661fe-1388-4b75-a8f7-53b9f30bf181" providerId="ADAL" clId="{9EBA97F5-AA3D-A24B-BFAD-BF478EA5639D}" dt="2024-02-08T16:04:48.370" v="6716"/>
          <ac:spMkLst>
            <pc:docMk/>
            <pc:sldMk cId="1462217075" sldId="371"/>
            <ac:spMk id="5" creationId="{9885F758-0E1E-EBD3-D31E-4D0996495815}"/>
          </ac:spMkLst>
        </pc:spChg>
        <pc:spChg chg="mod">
          <ac:chgData name="Jobst, Hanna" userId="e86661fe-1388-4b75-a8f7-53b9f30bf181" providerId="ADAL" clId="{9EBA97F5-AA3D-A24B-BFAD-BF478EA5639D}" dt="2024-02-08T16:05:16.833" v="6773" actId="948"/>
          <ac:spMkLst>
            <pc:docMk/>
            <pc:sldMk cId="1462217075" sldId="371"/>
            <ac:spMk id="6" creationId="{27A06B9F-608B-4EA3-FFA2-E47FA402B8A4}"/>
          </ac:spMkLst>
        </pc:spChg>
        <pc:spChg chg="mod">
          <ac:chgData name="Jobst, Hanna" userId="e86661fe-1388-4b75-a8f7-53b9f30bf181" providerId="ADAL" clId="{9EBA97F5-AA3D-A24B-BFAD-BF478EA5639D}" dt="2024-02-08T08:58:58.983" v="2555" actId="313"/>
          <ac:spMkLst>
            <pc:docMk/>
            <pc:sldMk cId="1462217075" sldId="371"/>
            <ac:spMk id="8" creationId="{DE72FB7C-05C3-0453-AD14-824B77143614}"/>
          </ac:spMkLst>
        </pc:spChg>
        <pc:spChg chg="mod">
          <ac:chgData name="Jobst, Hanna" userId="e86661fe-1388-4b75-a8f7-53b9f30bf181" providerId="ADAL" clId="{9EBA97F5-AA3D-A24B-BFAD-BF478EA5639D}" dt="2024-02-08T09:06:35.566" v="2810" actId="1035"/>
          <ac:spMkLst>
            <pc:docMk/>
            <pc:sldMk cId="1462217075" sldId="371"/>
            <ac:spMk id="10" creationId="{F36C25D6-6298-B3FD-66D9-AD091C8643E3}"/>
          </ac:spMkLst>
        </pc:spChg>
        <pc:spChg chg="add mod">
          <ac:chgData name="Jobst, Hanna" userId="e86661fe-1388-4b75-a8f7-53b9f30bf181" providerId="ADAL" clId="{9EBA97F5-AA3D-A24B-BFAD-BF478EA5639D}" dt="2024-02-08T14:22:24.413" v="6162"/>
          <ac:spMkLst>
            <pc:docMk/>
            <pc:sldMk cId="1462217075" sldId="371"/>
            <ac:spMk id="11" creationId="{229AC514-13D3-4CAC-34F9-649C25196179}"/>
          </ac:spMkLst>
        </pc:spChg>
        <pc:spChg chg="add del mod modVis">
          <ac:chgData name="Jobst, Hanna" userId="e86661fe-1388-4b75-a8f7-53b9f30bf181" providerId="ADAL" clId="{9EBA97F5-AA3D-A24B-BFAD-BF478EA5639D}" dt="2024-02-08T16:04:54.173" v="6756"/>
          <ac:spMkLst>
            <pc:docMk/>
            <pc:sldMk cId="1462217075" sldId="371"/>
            <ac:spMk id="12" creationId="{AEEBC6CD-0B0E-3341-AAB0-1D60D9379563}"/>
          </ac:spMkLst>
        </pc:spChg>
        <pc:spChg chg="add del mod modVis">
          <ac:chgData name="Jobst, Hanna" userId="e86661fe-1388-4b75-a8f7-53b9f30bf181" providerId="ADAL" clId="{9EBA97F5-AA3D-A24B-BFAD-BF478EA5639D}" dt="2024-02-08T16:05:16.881" v="6797"/>
          <ac:spMkLst>
            <pc:docMk/>
            <pc:sldMk cId="1462217075" sldId="371"/>
            <ac:spMk id="13" creationId="{40D62914-5047-79DC-AE1B-4DC35FF740B9}"/>
          </ac:spMkLst>
        </pc:spChg>
        <pc:spChg chg="mod">
          <ac:chgData name="Jobst, Hanna" userId="e86661fe-1388-4b75-a8f7-53b9f30bf181" providerId="ADAL" clId="{9EBA97F5-AA3D-A24B-BFAD-BF478EA5639D}" dt="2024-02-08T09:06:35.566" v="2810" actId="1035"/>
          <ac:spMkLst>
            <pc:docMk/>
            <pc:sldMk cId="1462217075" sldId="371"/>
            <ac:spMk id="16" creationId="{DFE321E2-2F27-140A-F06D-B02C601CB6C6}"/>
          </ac:spMkLst>
        </pc:spChg>
        <pc:spChg chg="mod">
          <ac:chgData name="Jobst, Hanna" userId="e86661fe-1388-4b75-a8f7-53b9f30bf181" providerId="ADAL" clId="{9EBA97F5-AA3D-A24B-BFAD-BF478EA5639D}" dt="2024-02-08T09:06:35.566" v="2810" actId="1035"/>
          <ac:spMkLst>
            <pc:docMk/>
            <pc:sldMk cId="1462217075" sldId="371"/>
            <ac:spMk id="22" creationId="{FD0FA5F9-CB4C-2143-56DF-AC2BEDB08DDF}"/>
          </ac:spMkLst>
        </pc:spChg>
        <pc:graphicFrameChg chg="add mod modVis replST">
          <ac:chgData name="Jobst, Hanna" userId="e86661fe-1388-4b75-a8f7-53b9f30bf181" providerId="ADAL" clId="{9EBA97F5-AA3D-A24B-BFAD-BF478EA5639D}" dt="2024-02-08T16:05:16.884" v="6799"/>
          <ac:graphicFrameMkLst>
            <pc:docMk/>
            <pc:sldMk cId="1462217075" sldId="371"/>
            <ac:graphicFrameMk id="2" creationId="{376CA5EC-EACE-F21F-3364-CBDEE35D2384}"/>
          </ac:graphicFrameMkLst>
        </pc:graphicFrameChg>
        <pc:picChg chg="mod">
          <ac:chgData name="Jobst, Hanna" userId="e86661fe-1388-4b75-a8f7-53b9f30bf181" providerId="ADAL" clId="{9EBA97F5-AA3D-A24B-BFAD-BF478EA5639D}" dt="2024-02-08T09:06:35.566" v="2810" actId="1035"/>
          <ac:picMkLst>
            <pc:docMk/>
            <pc:sldMk cId="1462217075" sldId="371"/>
            <ac:picMk id="9" creationId="{87B70080-E8CF-1648-A5A6-2DC844F5DC8D}"/>
          </ac:picMkLst>
        </pc:picChg>
        <pc:picChg chg="mod">
          <ac:chgData name="Jobst, Hanna" userId="e86661fe-1388-4b75-a8f7-53b9f30bf181" providerId="ADAL" clId="{9EBA97F5-AA3D-A24B-BFAD-BF478EA5639D}" dt="2024-02-08T09:06:35.566" v="2810" actId="1035"/>
          <ac:picMkLst>
            <pc:docMk/>
            <pc:sldMk cId="1462217075" sldId="371"/>
            <ac:picMk id="15" creationId="{C86332AA-B4F8-B6B0-25AD-50109EF1CA97}"/>
          </ac:picMkLst>
        </pc:picChg>
        <pc:picChg chg="mod">
          <ac:chgData name="Jobst, Hanna" userId="e86661fe-1388-4b75-a8f7-53b9f30bf181" providerId="ADAL" clId="{9EBA97F5-AA3D-A24B-BFAD-BF478EA5639D}" dt="2024-02-08T09:06:35.566" v="2810" actId="1035"/>
          <ac:picMkLst>
            <pc:docMk/>
            <pc:sldMk cId="1462217075" sldId="371"/>
            <ac:picMk id="21" creationId="{C4851D03-FD0F-BDEC-09F6-217EB30A57B6}"/>
          </ac:picMkLst>
        </pc:picChg>
      </pc:sldChg>
      <pc:sldChg chg="addSp delSp modSp mod modNotesTx">
        <pc:chgData name="Jobst, Hanna" userId="e86661fe-1388-4b75-a8f7-53b9f30bf181" providerId="ADAL" clId="{9EBA97F5-AA3D-A24B-BFAD-BF478EA5639D}" dt="2024-02-08T14:42:13.985" v="6222"/>
        <pc:sldMkLst>
          <pc:docMk/>
          <pc:sldMk cId="3121911503" sldId="372"/>
        </pc:sldMkLst>
        <pc:spChg chg="del">
          <ac:chgData name="Jobst, Hanna" userId="e86661fe-1388-4b75-a8f7-53b9f30bf181" providerId="ADAL" clId="{9EBA97F5-AA3D-A24B-BFAD-BF478EA5639D}" dt="2024-02-08T14:19:10.338" v="5892" actId="478"/>
          <ac:spMkLst>
            <pc:docMk/>
            <pc:sldMk cId="3121911503" sldId="372"/>
            <ac:spMk id="2" creationId="{E9FE61F8-FEF7-277E-EE15-D3D7E3D066EB}"/>
          </ac:spMkLst>
        </pc:spChg>
        <pc:spChg chg="mod">
          <ac:chgData name="Jobst, Hanna" userId="e86661fe-1388-4b75-a8f7-53b9f30bf181" providerId="ADAL" clId="{9EBA97F5-AA3D-A24B-BFAD-BF478EA5639D}" dt="2024-02-08T13:22:59.420" v="3959" actId="948"/>
          <ac:spMkLst>
            <pc:docMk/>
            <pc:sldMk cId="3121911503" sldId="372"/>
            <ac:spMk id="6" creationId="{A7A7615D-2CE4-09EF-591A-61E347348644}"/>
          </ac:spMkLst>
        </pc:spChg>
        <pc:spChg chg="add del mod modVis">
          <ac:chgData name="Jobst, Hanna" userId="e86661fe-1388-4b75-a8f7-53b9f30bf181" providerId="ADAL" clId="{9EBA97F5-AA3D-A24B-BFAD-BF478EA5639D}" dt="2024-02-08T13:22:59.471" v="3983"/>
          <ac:spMkLst>
            <pc:docMk/>
            <pc:sldMk cId="3121911503" sldId="372"/>
            <ac:spMk id="7" creationId="{798F7563-7521-51D8-0ED8-B5D55FB6DC12}"/>
          </ac:spMkLst>
        </pc:spChg>
        <pc:spChg chg="add mod">
          <ac:chgData name="Jobst, Hanna" userId="e86661fe-1388-4b75-a8f7-53b9f30bf181" providerId="ADAL" clId="{9EBA97F5-AA3D-A24B-BFAD-BF478EA5639D}" dt="2024-02-08T14:19:17.535" v="5893"/>
          <ac:spMkLst>
            <pc:docMk/>
            <pc:sldMk cId="3121911503" sldId="372"/>
            <ac:spMk id="10" creationId="{82897D7F-E832-9179-36A4-880850C31229}"/>
          </ac:spMkLst>
        </pc:spChg>
        <pc:spChg chg="mod">
          <ac:chgData name="Jobst, Hanna" userId="e86661fe-1388-4b75-a8f7-53b9f30bf181" providerId="ADAL" clId="{9EBA97F5-AA3D-A24B-BFAD-BF478EA5639D}" dt="2024-02-08T13:36:25.429" v="4344" actId="20577"/>
          <ac:spMkLst>
            <pc:docMk/>
            <pc:sldMk cId="3121911503" sldId="372"/>
            <ac:spMk id="22" creationId="{50035ADF-966D-4881-DDF2-8D70A8359CA4}"/>
          </ac:spMkLst>
        </pc:spChg>
        <pc:graphicFrameChg chg="mod">
          <ac:chgData name="Jobst, Hanna" userId="e86661fe-1388-4b75-a8f7-53b9f30bf181" providerId="ADAL" clId="{9EBA97F5-AA3D-A24B-BFAD-BF478EA5639D}" dt="2024-02-08T14:42:13.985" v="6222"/>
          <ac:graphicFrameMkLst>
            <pc:docMk/>
            <pc:sldMk cId="3121911503" sldId="372"/>
            <ac:graphicFrameMk id="11" creationId="{6BDB721F-CF17-8083-1467-63875EE752B6}"/>
          </ac:graphicFrameMkLst>
        </pc:graphicFrameChg>
      </pc:sldChg>
      <pc:sldChg chg="addSp delSp modSp mod modNotesTx">
        <pc:chgData name="Jobst, Hanna" userId="e86661fe-1388-4b75-a8f7-53b9f30bf181" providerId="ADAL" clId="{9EBA97F5-AA3D-A24B-BFAD-BF478EA5639D}" dt="2024-02-08T14:19:22.014" v="5895" actId="478"/>
        <pc:sldMkLst>
          <pc:docMk/>
          <pc:sldMk cId="4236777214" sldId="374"/>
        </pc:sldMkLst>
        <pc:spChg chg="del">
          <ac:chgData name="Jobst, Hanna" userId="e86661fe-1388-4b75-a8f7-53b9f30bf181" providerId="ADAL" clId="{9EBA97F5-AA3D-A24B-BFAD-BF478EA5639D}" dt="2024-02-08T14:19:22.014" v="5895" actId="478"/>
          <ac:spMkLst>
            <pc:docMk/>
            <pc:sldMk cId="4236777214" sldId="374"/>
            <ac:spMk id="2" creationId="{DBDB6B52-12FB-E589-BE7D-EA3EE3632AE6}"/>
          </ac:spMkLst>
        </pc:spChg>
        <pc:spChg chg="mod">
          <ac:chgData name="Jobst, Hanna" userId="e86661fe-1388-4b75-a8f7-53b9f30bf181" providerId="ADAL" clId="{9EBA97F5-AA3D-A24B-BFAD-BF478EA5639D}" dt="2024-02-08T13:38:52.011" v="4424" actId="948"/>
          <ac:spMkLst>
            <pc:docMk/>
            <pc:sldMk cId="4236777214" sldId="374"/>
            <ac:spMk id="6" creationId="{88CFF62C-1EE1-7D77-AD00-FE746E295D03}"/>
          </ac:spMkLst>
        </pc:spChg>
        <pc:spChg chg="add del mod modVis">
          <ac:chgData name="Jobst, Hanna" userId="e86661fe-1388-4b75-a8f7-53b9f30bf181" providerId="ADAL" clId="{9EBA97F5-AA3D-A24B-BFAD-BF478EA5639D}" dt="2024-02-08T13:38:52.065" v="4448"/>
          <ac:spMkLst>
            <pc:docMk/>
            <pc:sldMk cId="4236777214" sldId="374"/>
            <ac:spMk id="17" creationId="{B848B000-E63B-3C60-5834-24004AE92220}"/>
          </ac:spMkLst>
        </pc:spChg>
        <pc:spChg chg="add mod">
          <ac:chgData name="Jobst, Hanna" userId="e86661fe-1388-4b75-a8f7-53b9f30bf181" providerId="ADAL" clId="{9EBA97F5-AA3D-A24B-BFAD-BF478EA5639D}" dt="2024-02-08T14:19:19.747" v="5894"/>
          <ac:spMkLst>
            <pc:docMk/>
            <pc:sldMk cId="4236777214" sldId="374"/>
            <ac:spMk id="19" creationId="{23D97947-FE05-F3F6-8324-DCDC07CA3406}"/>
          </ac:spMkLst>
        </pc:spChg>
        <pc:graphicFrameChg chg="mod">
          <ac:chgData name="Jobst, Hanna" userId="e86661fe-1388-4b75-a8f7-53b9f30bf181" providerId="ADAL" clId="{9EBA97F5-AA3D-A24B-BFAD-BF478EA5639D}" dt="2024-02-08T13:38:52.068" v="4450"/>
          <ac:graphicFrameMkLst>
            <pc:docMk/>
            <pc:sldMk cId="4236777214" sldId="374"/>
            <ac:graphicFrameMk id="11" creationId="{B605366B-9B1F-C928-04F3-BDEC657821A2}"/>
          </ac:graphicFrameMkLst>
        </pc:graphicFrameChg>
      </pc:sldChg>
      <pc:sldChg chg="addSp delSp modSp mod">
        <pc:chgData name="Jobst, Hanna" userId="e86661fe-1388-4b75-a8f7-53b9f30bf181" providerId="ADAL" clId="{9EBA97F5-AA3D-A24B-BFAD-BF478EA5639D}" dt="2024-02-08T14:46:54.075" v="6276"/>
        <pc:sldMkLst>
          <pc:docMk/>
          <pc:sldMk cId="3887009211" sldId="375"/>
        </pc:sldMkLst>
        <pc:spChg chg="del">
          <ac:chgData name="Jobst, Hanna" userId="e86661fe-1388-4b75-a8f7-53b9f30bf181" providerId="ADAL" clId="{9EBA97F5-AA3D-A24B-BFAD-BF478EA5639D}" dt="2024-02-08T14:19:41.172" v="5932" actId="478"/>
          <ac:spMkLst>
            <pc:docMk/>
            <pc:sldMk cId="3887009211" sldId="375"/>
            <ac:spMk id="2" creationId="{8840F98E-7B67-028E-AF43-7F42FA2E853F}"/>
          </ac:spMkLst>
        </pc:spChg>
        <pc:spChg chg="add del mod modVis">
          <ac:chgData name="Jobst, Hanna" userId="e86661fe-1388-4b75-a8f7-53b9f30bf181" providerId="ADAL" clId="{9EBA97F5-AA3D-A24B-BFAD-BF478EA5639D}" dt="2024-02-08T14:19:31.204" v="5922"/>
          <ac:spMkLst>
            <pc:docMk/>
            <pc:sldMk cId="3887009211" sldId="375"/>
            <ac:spMk id="5" creationId="{FAE545C6-0BC3-A240-060D-AB468598ECF1}"/>
          </ac:spMkLst>
        </pc:spChg>
        <pc:spChg chg="mod">
          <ac:chgData name="Jobst, Hanna" userId="e86661fe-1388-4b75-a8f7-53b9f30bf181" providerId="ADAL" clId="{9EBA97F5-AA3D-A24B-BFAD-BF478EA5639D}" dt="2024-02-08T14:46:54.022" v="6250" actId="948"/>
          <ac:spMkLst>
            <pc:docMk/>
            <pc:sldMk cId="3887009211" sldId="375"/>
            <ac:spMk id="6" creationId="{3BABE590-5298-BFBE-18D8-3DC5D0D42924}"/>
          </ac:spMkLst>
        </pc:spChg>
        <pc:spChg chg="mod">
          <ac:chgData name="Jobst, Hanna" userId="e86661fe-1388-4b75-a8f7-53b9f30bf181" providerId="ADAL" clId="{9EBA97F5-AA3D-A24B-BFAD-BF478EA5639D}" dt="2024-02-08T14:19:38.455" v="5931" actId="20577"/>
          <ac:spMkLst>
            <pc:docMk/>
            <pc:sldMk cId="3887009211" sldId="375"/>
            <ac:spMk id="7" creationId="{FE577927-6A20-8760-6501-F09C9A62E2B5}"/>
          </ac:spMkLst>
        </pc:spChg>
        <pc:spChg chg="add mod">
          <ac:chgData name="Jobst, Hanna" userId="e86661fe-1388-4b75-a8f7-53b9f30bf181" providerId="ADAL" clId="{9EBA97F5-AA3D-A24B-BFAD-BF478EA5639D}" dt="2024-02-08T14:19:31.407" v="5925"/>
          <ac:spMkLst>
            <pc:docMk/>
            <pc:sldMk cId="3887009211" sldId="375"/>
            <ac:spMk id="10" creationId="{90B89B07-46BA-A480-5193-C7969515CF30}"/>
          </ac:spMkLst>
        </pc:spChg>
        <pc:spChg chg="add del mod modVis">
          <ac:chgData name="Jobst, Hanna" userId="e86661fe-1388-4b75-a8f7-53b9f30bf181" providerId="ADAL" clId="{9EBA97F5-AA3D-A24B-BFAD-BF478EA5639D}" dt="2024-02-08T14:46:54.072" v="6274"/>
          <ac:spMkLst>
            <pc:docMk/>
            <pc:sldMk cId="3887009211" sldId="375"/>
            <ac:spMk id="16" creationId="{22D1E15D-AAD9-C9FE-3C82-B89FD0DB0FCF}"/>
          </ac:spMkLst>
        </pc:spChg>
        <pc:graphicFrameChg chg="mod">
          <ac:chgData name="Jobst, Hanna" userId="e86661fe-1388-4b75-a8f7-53b9f30bf181" providerId="ADAL" clId="{9EBA97F5-AA3D-A24B-BFAD-BF478EA5639D}" dt="2024-02-08T14:46:54.075" v="6276"/>
          <ac:graphicFrameMkLst>
            <pc:docMk/>
            <pc:sldMk cId="3887009211" sldId="375"/>
            <ac:graphicFrameMk id="11" creationId="{FAF63954-02EE-64D8-366B-449428AC98DA}"/>
          </ac:graphicFrameMkLst>
        </pc:graphicFrameChg>
      </pc:sldChg>
      <pc:sldChg chg="addSp delSp modSp mod">
        <pc:chgData name="Jobst, Hanna" userId="e86661fe-1388-4b75-a8f7-53b9f30bf181" providerId="ADAL" clId="{9EBA97F5-AA3D-A24B-BFAD-BF478EA5639D}" dt="2024-02-08T14:19:46.989" v="5961" actId="478"/>
        <pc:sldMkLst>
          <pc:docMk/>
          <pc:sldMk cId="932072143" sldId="376"/>
        </pc:sldMkLst>
        <pc:spChg chg="del">
          <ac:chgData name="Jobst, Hanna" userId="e86661fe-1388-4b75-a8f7-53b9f30bf181" providerId="ADAL" clId="{9EBA97F5-AA3D-A24B-BFAD-BF478EA5639D}" dt="2024-02-08T14:19:46.989" v="5961" actId="478"/>
          <ac:spMkLst>
            <pc:docMk/>
            <pc:sldMk cId="932072143" sldId="376"/>
            <ac:spMk id="2" creationId="{AD3ED15E-CAAA-F37C-5853-A23ABF9B57A2}"/>
          </ac:spMkLst>
        </pc:spChg>
        <pc:spChg chg="add del mod modVis">
          <ac:chgData name="Jobst, Hanna" userId="e86661fe-1388-4b75-a8f7-53b9f30bf181" providerId="ADAL" clId="{9EBA97F5-AA3D-A24B-BFAD-BF478EA5639D}" dt="2024-02-08T14:19:44.033" v="5957"/>
          <ac:spMkLst>
            <pc:docMk/>
            <pc:sldMk cId="932072143" sldId="376"/>
            <ac:spMk id="5" creationId="{508D8E62-8D07-92AF-3670-30384E51AA12}"/>
          </ac:spMkLst>
        </pc:spChg>
        <pc:spChg chg="mod">
          <ac:chgData name="Jobst, Hanna" userId="e86661fe-1388-4b75-a8f7-53b9f30bf181" providerId="ADAL" clId="{9EBA97F5-AA3D-A24B-BFAD-BF478EA5639D}" dt="2024-02-08T14:19:43.975" v="5933" actId="948"/>
          <ac:spMkLst>
            <pc:docMk/>
            <pc:sldMk cId="932072143" sldId="376"/>
            <ac:spMk id="6" creationId="{69A8F6D0-9641-05E5-1DEB-DA4C00FA023C}"/>
          </ac:spMkLst>
        </pc:spChg>
        <pc:spChg chg="add mod">
          <ac:chgData name="Jobst, Hanna" userId="e86661fe-1388-4b75-a8f7-53b9f30bf181" providerId="ADAL" clId="{9EBA97F5-AA3D-A24B-BFAD-BF478EA5639D}" dt="2024-02-08T14:19:44.172" v="5960"/>
          <ac:spMkLst>
            <pc:docMk/>
            <pc:sldMk cId="932072143" sldId="376"/>
            <ac:spMk id="16" creationId="{E04635AB-5A26-C744-A380-CD691121561B}"/>
          </ac:spMkLst>
        </pc:spChg>
        <pc:graphicFrameChg chg="mod">
          <ac:chgData name="Jobst, Hanna" userId="e86661fe-1388-4b75-a8f7-53b9f30bf181" providerId="ADAL" clId="{9EBA97F5-AA3D-A24B-BFAD-BF478EA5639D}" dt="2024-02-08T14:19:44.037" v="5959"/>
          <ac:graphicFrameMkLst>
            <pc:docMk/>
            <pc:sldMk cId="932072143" sldId="376"/>
            <ac:graphicFrameMk id="11" creationId="{CC86FBBA-A3F0-9054-886B-6C2CFB5AB7CB}"/>
          </ac:graphicFrameMkLst>
        </pc:graphicFrameChg>
      </pc:sldChg>
      <pc:sldChg chg="addSp delSp modSp mod">
        <pc:chgData name="Jobst, Hanna" userId="e86661fe-1388-4b75-a8f7-53b9f30bf181" providerId="ADAL" clId="{9EBA97F5-AA3D-A24B-BFAD-BF478EA5639D}" dt="2024-02-08T14:20:14.542" v="6052" actId="478"/>
        <pc:sldMkLst>
          <pc:docMk/>
          <pc:sldMk cId="1459322966" sldId="379"/>
        </pc:sldMkLst>
        <pc:spChg chg="del">
          <ac:chgData name="Jobst, Hanna" userId="e86661fe-1388-4b75-a8f7-53b9f30bf181" providerId="ADAL" clId="{9EBA97F5-AA3D-A24B-BFAD-BF478EA5639D}" dt="2024-02-08T14:20:14.542" v="6052" actId="478"/>
          <ac:spMkLst>
            <pc:docMk/>
            <pc:sldMk cId="1459322966" sldId="379"/>
            <ac:spMk id="2" creationId="{B9C24289-128C-BC94-7426-9549D4805B73}"/>
          </ac:spMkLst>
        </pc:spChg>
        <pc:spChg chg="add mod">
          <ac:chgData name="Jobst, Hanna" userId="e86661fe-1388-4b75-a8f7-53b9f30bf181" providerId="ADAL" clId="{9EBA97F5-AA3D-A24B-BFAD-BF478EA5639D}" dt="2024-02-08T14:20:12.345" v="6051"/>
          <ac:spMkLst>
            <pc:docMk/>
            <pc:sldMk cId="1459322966" sldId="379"/>
            <ac:spMk id="5" creationId="{329B2964-8994-6B1A-A17F-715819B4D8BE}"/>
          </ac:spMkLst>
        </pc:spChg>
        <pc:spChg chg="mod">
          <ac:chgData name="Jobst, Hanna" userId="e86661fe-1388-4b75-a8f7-53b9f30bf181" providerId="ADAL" clId="{9EBA97F5-AA3D-A24B-BFAD-BF478EA5639D}" dt="2024-02-08T13:29:30.180" v="4050" actId="1076"/>
          <ac:spMkLst>
            <pc:docMk/>
            <pc:sldMk cId="1459322966" sldId="379"/>
            <ac:spMk id="10" creationId="{E170EE4F-ECEE-95D8-CF86-A0DD00F86E7A}"/>
          </ac:spMkLst>
        </pc:spChg>
      </pc:sldChg>
      <pc:sldChg chg="addSp delSp modSp mod">
        <pc:chgData name="Jobst, Hanna" userId="e86661fe-1388-4b75-a8f7-53b9f30bf181" providerId="ADAL" clId="{9EBA97F5-AA3D-A24B-BFAD-BF478EA5639D}" dt="2024-02-08T14:20:20.341" v="6054"/>
        <pc:sldMkLst>
          <pc:docMk/>
          <pc:sldMk cId="3918021166" sldId="380"/>
        </pc:sldMkLst>
        <pc:spChg chg="del">
          <ac:chgData name="Jobst, Hanna" userId="e86661fe-1388-4b75-a8f7-53b9f30bf181" providerId="ADAL" clId="{9EBA97F5-AA3D-A24B-BFAD-BF478EA5639D}" dt="2024-02-08T14:20:19.994" v="6053" actId="478"/>
          <ac:spMkLst>
            <pc:docMk/>
            <pc:sldMk cId="3918021166" sldId="380"/>
            <ac:spMk id="2" creationId="{CB46442E-365B-798C-4185-1102C629B951}"/>
          </ac:spMkLst>
        </pc:spChg>
        <pc:spChg chg="add mod">
          <ac:chgData name="Jobst, Hanna" userId="e86661fe-1388-4b75-a8f7-53b9f30bf181" providerId="ADAL" clId="{9EBA97F5-AA3D-A24B-BFAD-BF478EA5639D}" dt="2024-02-08T14:20:20.341" v="6054"/>
          <ac:spMkLst>
            <pc:docMk/>
            <pc:sldMk cId="3918021166" sldId="380"/>
            <ac:spMk id="17" creationId="{5F19C484-23F5-17CA-4C1E-5305E4613E68}"/>
          </ac:spMkLst>
        </pc:spChg>
      </pc:sldChg>
      <pc:sldChg chg="addSp delSp modSp mod">
        <pc:chgData name="Jobst, Hanna" userId="e86661fe-1388-4b75-a8f7-53b9f30bf181" providerId="ADAL" clId="{9EBA97F5-AA3D-A24B-BFAD-BF478EA5639D}" dt="2024-02-08T14:20:24.933" v="6056" actId="478"/>
        <pc:sldMkLst>
          <pc:docMk/>
          <pc:sldMk cId="526707996" sldId="381"/>
        </pc:sldMkLst>
        <pc:spChg chg="del">
          <ac:chgData name="Jobst, Hanna" userId="e86661fe-1388-4b75-a8f7-53b9f30bf181" providerId="ADAL" clId="{9EBA97F5-AA3D-A24B-BFAD-BF478EA5639D}" dt="2024-02-08T14:20:24.933" v="6056" actId="478"/>
          <ac:spMkLst>
            <pc:docMk/>
            <pc:sldMk cId="526707996" sldId="381"/>
            <ac:spMk id="2" creationId="{547E1DD3-0226-C54D-6870-E013D8DC8F35}"/>
          </ac:spMkLst>
        </pc:spChg>
        <pc:spChg chg="add mod">
          <ac:chgData name="Jobst, Hanna" userId="e86661fe-1388-4b75-a8f7-53b9f30bf181" providerId="ADAL" clId="{9EBA97F5-AA3D-A24B-BFAD-BF478EA5639D}" dt="2024-02-08T14:20:22.523" v="6055"/>
          <ac:spMkLst>
            <pc:docMk/>
            <pc:sldMk cId="526707996" sldId="381"/>
            <ac:spMk id="5" creationId="{5753C4AE-289F-1D47-A6AF-BA8F3427F80D}"/>
          </ac:spMkLst>
        </pc:spChg>
      </pc:sldChg>
      <pc:sldChg chg="addSp delSp modSp mod">
        <pc:chgData name="Jobst, Hanna" userId="e86661fe-1388-4b75-a8f7-53b9f30bf181" providerId="ADAL" clId="{9EBA97F5-AA3D-A24B-BFAD-BF478EA5639D}" dt="2024-02-08T14:20:33.315" v="6060" actId="478"/>
        <pc:sldMkLst>
          <pc:docMk/>
          <pc:sldMk cId="447731735" sldId="382"/>
        </pc:sldMkLst>
        <pc:spChg chg="del">
          <ac:chgData name="Jobst, Hanna" userId="e86661fe-1388-4b75-a8f7-53b9f30bf181" providerId="ADAL" clId="{9EBA97F5-AA3D-A24B-BFAD-BF478EA5639D}" dt="2024-02-08T14:20:33.315" v="6060" actId="478"/>
          <ac:spMkLst>
            <pc:docMk/>
            <pc:sldMk cId="447731735" sldId="382"/>
            <ac:spMk id="2" creationId="{74229C93-8222-52AF-D67E-77D06639CBA9}"/>
          </ac:spMkLst>
        </pc:spChg>
        <pc:spChg chg="mod">
          <ac:chgData name="Jobst, Hanna" userId="e86661fe-1388-4b75-a8f7-53b9f30bf181" providerId="ADAL" clId="{9EBA97F5-AA3D-A24B-BFAD-BF478EA5639D}" dt="2024-02-08T14:20:30.335" v="6059" actId="20577"/>
          <ac:spMkLst>
            <pc:docMk/>
            <pc:sldMk cId="447731735" sldId="382"/>
            <ac:spMk id="18" creationId="{378FB96F-6CA4-340B-76F2-0C70DC2BAA52}"/>
          </ac:spMkLst>
        </pc:spChg>
        <pc:spChg chg="add mod">
          <ac:chgData name="Jobst, Hanna" userId="e86661fe-1388-4b75-a8f7-53b9f30bf181" providerId="ADAL" clId="{9EBA97F5-AA3D-A24B-BFAD-BF478EA5639D}" dt="2024-02-08T14:20:26.440" v="6057"/>
          <ac:spMkLst>
            <pc:docMk/>
            <pc:sldMk cId="447731735" sldId="382"/>
            <ac:spMk id="19" creationId="{2C8B975A-9593-0551-ED6B-387031700A42}"/>
          </ac:spMkLst>
        </pc:spChg>
      </pc:sldChg>
      <pc:sldChg chg="addSp delSp modSp mod">
        <pc:chgData name="Jobst, Hanna" userId="e86661fe-1388-4b75-a8f7-53b9f30bf181" providerId="ADAL" clId="{9EBA97F5-AA3D-A24B-BFAD-BF478EA5639D}" dt="2024-02-08T14:46:52.184" v="6249"/>
        <pc:sldMkLst>
          <pc:docMk/>
          <pc:sldMk cId="168182596" sldId="384"/>
        </pc:sldMkLst>
        <pc:spChg chg="del">
          <ac:chgData name="Jobst, Hanna" userId="e86661fe-1388-4b75-a8f7-53b9f30bf181" providerId="ADAL" clId="{9EBA97F5-AA3D-A24B-BFAD-BF478EA5639D}" dt="2024-02-08T14:19:28.228" v="5897" actId="478"/>
          <ac:spMkLst>
            <pc:docMk/>
            <pc:sldMk cId="168182596" sldId="384"/>
            <ac:spMk id="2" creationId="{629A1BFC-58EC-6564-5D43-F29EF7C5FE3B}"/>
          </ac:spMkLst>
        </pc:spChg>
        <pc:spChg chg="add del mod modVis">
          <ac:chgData name="Jobst, Hanna" userId="e86661fe-1388-4b75-a8f7-53b9f30bf181" providerId="ADAL" clId="{9EBA97F5-AA3D-A24B-BFAD-BF478EA5639D}" dt="2024-02-08T13:23:09.490" v="4010"/>
          <ac:spMkLst>
            <pc:docMk/>
            <pc:sldMk cId="168182596" sldId="384"/>
            <ac:spMk id="5" creationId="{EE42C9A1-81AC-B98D-3620-A83ED75EFFD2}"/>
          </ac:spMkLst>
        </pc:spChg>
        <pc:spChg chg="mod">
          <ac:chgData name="Jobst, Hanna" userId="e86661fe-1388-4b75-a8f7-53b9f30bf181" providerId="ADAL" clId="{9EBA97F5-AA3D-A24B-BFAD-BF478EA5639D}" dt="2024-02-08T14:46:52.133" v="6223" actId="948"/>
          <ac:spMkLst>
            <pc:docMk/>
            <pc:sldMk cId="168182596" sldId="384"/>
            <ac:spMk id="6" creationId="{506662A2-6D31-8D1B-465C-7C76C9A12EE6}"/>
          </ac:spMkLst>
        </pc:spChg>
        <pc:spChg chg="add mod">
          <ac:chgData name="Jobst, Hanna" userId="e86661fe-1388-4b75-a8f7-53b9f30bf181" providerId="ADAL" clId="{9EBA97F5-AA3D-A24B-BFAD-BF478EA5639D}" dt="2024-02-08T14:19:25.179" v="5896"/>
          <ac:spMkLst>
            <pc:docMk/>
            <pc:sldMk cId="168182596" sldId="384"/>
            <ac:spMk id="7" creationId="{20592CCE-BF5C-A7E7-F897-F665488070A5}"/>
          </ac:spMkLst>
        </pc:spChg>
        <pc:spChg chg="add del mod modVis">
          <ac:chgData name="Jobst, Hanna" userId="e86661fe-1388-4b75-a8f7-53b9f30bf181" providerId="ADAL" clId="{9EBA97F5-AA3D-A24B-BFAD-BF478EA5639D}" dt="2024-02-08T14:46:52.180" v="6247"/>
          <ac:spMkLst>
            <pc:docMk/>
            <pc:sldMk cId="168182596" sldId="384"/>
            <ac:spMk id="10" creationId="{FB46DF62-F28B-665E-5E3A-35D3E0852343}"/>
          </ac:spMkLst>
        </pc:spChg>
        <pc:graphicFrameChg chg="mod">
          <ac:chgData name="Jobst, Hanna" userId="e86661fe-1388-4b75-a8f7-53b9f30bf181" providerId="ADAL" clId="{9EBA97F5-AA3D-A24B-BFAD-BF478EA5639D}" dt="2024-02-08T14:46:52.184" v="6249"/>
          <ac:graphicFrameMkLst>
            <pc:docMk/>
            <pc:sldMk cId="168182596" sldId="384"/>
            <ac:graphicFrameMk id="11" creationId="{B3BBA694-D78B-A8D5-0389-BDC92E8FB981}"/>
          </ac:graphicFrameMkLst>
        </pc:graphicFrameChg>
      </pc:sldChg>
      <pc:sldChg chg="addSp delSp modSp mod">
        <pc:chgData name="Jobst, Hanna" userId="e86661fe-1388-4b75-a8f7-53b9f30bf181" providerId="ADAL" clId="{9EBA97F5-AA3D-A24B-BFAD-BF478EA5639D}" dt="2024-02-08T14:48:42.981" v="6279" actId="20577"/>
        <pc:sldMkLst>
          <pc:docMk/>
          <pc:sldMk cId="3184284025" sldId="385"/>
        </pc:sldMkLst>
        <pc:spChg chg="del">
          <ac:chgData name="Jobst, Hanna" userId="e86661fe-1388-4b75-a8f7-53b9f30bf181" providerId="ADAL" clId="{9EBA97F5-AA3D-A24B-BFAD-BF478EA5639D}" dt="2024-02-08T14:19:52.851" v="5963" actId="478"/>
          <ac:spMkLst>
            <pc:docMk/>
            <pc:sldMk cId="3184284025" sldId="385"/>
            <ac:spMk id="2" creationId="{CDB7BA6F-7F1A-1546-DF30-63D976498E92}"/>
          </ac:spMkLst>
        </pc:spChg>
        <pc:spChg chg="add mod">
          <ac:chgData name="Jobst, Hanna" userId="e86661fe-1388-4b75-a8f7-53b9f30bf181" providerId="ADAL" clId="{9EBA97F5-AA3D-A24B-BFAD-BF478EA5639D}" dt="2024-02-08T14:19:50.274" v="5962"/>
          <ac:spMkLst>
            <pc:docMk/>
            <pc:sldMk cId="3184284025" sldId="385"/>
            <ac:spMk id="5" creationId="{AB0EC2B0-5361-500C-B775-1802433773CF}"/>
          </ac:spMkLst>
        </pc:spChg>
        <pc:spChg chg="mod">
          <ac:chgData name="Jobst, Hanna" userId="e86661fe-1388-4b75-a8f7-53b9f30bf181" providerId="ADAL" clId="{9EBA97F5-AA3D-A24B-BFAD-BF478EA5639D}" dt="2024-02-08T14:48:42.981" v="6279" actId="20577"/>
          <ac:spMkLst>
            <pc:docMk/>
            <pc:sldMk cId="3184284025" sldId="385"/>
            <ac:spMk id="15" creationId="{2FFA3FD0-DE13-E925-FBEA-B08B524826CF}"/>
          </ac:spMkLst>
        </pc:spChg>
      </pc:sldChg>
      <pc:sldChg chg="addSp delSp modSp mod">
        <pc:chgData name="Jobst, Hanna" userId="e86661fe-1388-4b75-a8f7-53b9f30bf181" providerId="ADAL" clId="{9EBA97F5-AA3D-A24B-BFAD-BF478EA5639D}" dt="2024-02-08T14:48:31.989" v="6277" actId="20577"/>
        <pc:sldMkLst>
          <pc:docMk/>
          <pc:sldMk cId="3321945845" sldId="386"/>
        </pc:sldMkLst>
        <pc:spChg chg="del">
          <ac:chgData name="Jobst, Hanna" userId="e86661fe-1388-4b75-a8f7-53b9f30bf181" providerId="ADAL" clId="{9EBA97F5-AA3D-A24B-BFAD-BF478EA5639D}" dt="2024-02-08T14:20:00.088" v="5992" actId="478"/>
          <ac:spMkLst>
            <pc:docMk/>
            <pc:sldMk cId="3321945845" sldId="386"/>
            <ac:spMk id="2" creationId="{3D6C75A9-F52C-CA29-9640-8316C7CC615F}"/>
          </ac:spMkLst>
        </pc:spChg>
        <pc:spChg chg="add del mod modVis">
          <ac:chgData name="Jobst, Hanna" userId="e86661fe-1388-4b75-a8f7-53b9f30bf181" providerId="ADAL" clId="{9EBA97F5-AA3D-A24B-BFAD-BF478EA5639D}" dt="2024-02-08T14:19:55.803" v="5988"/>
          <ac:spMkLst>
            <pc:docMk/>
            <pc:sldMk cId="3321945845" sldId="386"/>
            <ac:spMk id="5" creationId="{EEBB59F9-215A-2856-84C0-D4235A587C46}"/>
          </ac:spMkLst>
        </pc:spChg>
        <pc:spChg chg="mod">
          <ac:chgData name="Jobst, Hanna" userId="e86661fe-1388-4b75-a8f7-53b9f30bf181" providerId="ADAL" clId="{9EBA97F5-AA3D-A24B-BFAD-BF478EA5639D}" dt="2024-02-08T14:19:55.747" v="5964" actId="948"/>
          <ac:spMkLst>
            <pc:docMk/>
            <pc:sldMk cId="3321945845" sldId="386"/>
            <ac:spMk id="6" creationId="{02867D57-6405-293C-38B7-FE7FF2D78786}"/>
          </ac:spMkLst>
        </pc:spChg>
        <pc:spChg chg="mod">
          <ac:chgData name="Jobst, Hanna" userId="e86661fe-1388-4b75-a8f7-53b9f30bf181" providerId="ADAL" clId="{9EBA97F5-AA3D-A24B-BFAD-BF478EA5639D}" dt="2024-02-08T14:48:31.989" v="6277" actId="20577"/>
          <ac:spMkLst>
            <pc:docMk/>
            <pc:sldMk cId="3321945845" sldId="386"/>
            <ac:spMk id="15" creationId="{060649A1-7718-2CFC-13E4-C9CFD7383D95}"/>
          </ac:spMkLst>
        </pc:spChg>
        <pc:spChg chg="add mod">
          <ac:chgData name="Jobst, Hanna" userId="e86661fe-1388-4b75-a8f7-53b9f30bf181" providerId="ADAL" clId="{9EBA97F5-AA3D-A24B-BFAD-BF478EA5639D}" dt="2024-02-08T14:19:55.850" v="5991"/>
          <ac:spMkLst>
            <pc:docMk/>
            <pc:sldMk cId="3321945845" sldId="386"/>
            <ac:spMk id="16" creationId="{75D91D1B-AAEF-0A2E-BBC0-F25752B6F2DB}"/>
          </ac:spMkLst>
        </pc:spChg>
        <pc:graphicFrameChg chg="mod">
          <ac:chgData name="Jobst, Hanna" userId="e86661fe-1388-4b75-a8f7-53b9f30bf181" providerId="ADAL" clId="{9EBA97F5-AA3D-A24B-BFAD-BF478EA5639D}" dt="2024-02-08T14:19:55.807" v="5990"/>
          <ac:graphicFrameMkLst>
            <pc:docMk/>
            <pc:sldMk cId="3321945845" sldId="386"/>
            <ac:graphicFrameMk id="11" creationId="{DC06A527-208C-DEA0-4725-2626F4F6070A}"/>
          </ac:graphicFrameMkLst>
        </pc:graphicFrameChg>
      </pc:sldChg>
      <pc:sldChg chg="addSp delSp modSp mod">
        <pc:chgData name="Jobst, Hanna" userId="e86661fe-1388-4b75-a8f7-53b9f30bf181" providerId="ADAL" clId="{9EBA97F5-AA3D-A24B-BFAD-BF478EA5639D}" dt="2024-02-08T14:48:39.197" v="6278" actId="20577"/>
        <pc:sldMkLst>
          <pc:docMk/>
          <pc:sldMk cId="246774282" sldId="387"/>
        </pc:sldMkLst>
        <pc:spChg chg="del">
          <ac:chgData name="Jobst, Hanna" userId="e86661fe-1388-4b75-a8f7-53b9f30bf181" providerId="ADAL" clId="{9EBA97F5-AA3D-A24B-BFAD-BF478EA5639D}" dt="2024-02-08T14:20:05.020" v="6020" actId="478"/>
          <ac:spMkLst>
            <pc:docMk/>
            <pc:sldMk cId="246774282" sldId="387"/>
            <ac:spMk id="2" creationId="{34E9EBAA-DEF6-7255-EC7F-D737C212525C}"/>
          </ac:spMkLst>
        </pc:spChg>
        <pc:spChg chg="add del mod modVis">
          <ac:chgData name="Jobst, Hanna" userId="e86661fe-1388-4b75-a8f7-53b9f30bf181" providerId="ADAL" clId="{9EBA97F5-AA3D-A24B-BFAD-BF478EA5639D}" dt="2024-02-08T14:20:03.610" v="6017"/>
          <ac:spMkLst>
            <pc:docMk/>
            <pc:sldMk cId="246774282" sldId="387"/>
            <ac:spMk id="5" creationId="{05B0623F-69E5-4691-509E-7DC24E8B12C4}"/>
          </ac:spMkLst>
        </pc:spChg>
        <pc:spChg chg="mod">
          <ac:chgData name="Jobst, Hanna" userId="e86661fe-1388-4b75-a8f7-53b9f30bf181" providerId="ADAL" clId="{9EBA97F5-AA3D-A24B-BFAD-BF478EA5639D}" dt="2024-02-08T14:20:03.552" v="5993" actId="948"/>
          <ac:spMkLst>
            <pc:docMk/>
            <pc:sldMk cId="246774282" sldId="387"/>
            <ac:spMk id="6" creationId="{968E2D5E-3FF7-A5E1-0944-21651DE55212}"/>
          </ac:spMkLst>
        </pc:spChg>
        <pc:spChg chg="mod">
          <ac:chgData name="Jobst, Hanna" userId="e86661fe-1388-4b75-a8f7-53b9f30bf181" providerId="ADAL" clId="{9EBA97F5-AA3D-A24B-BFAD-BF478EA5639D}" dt="2024-02-08T14:48:39.197" v="6278" actId="20577"/>
          <ac:spMkLst>
            <pc:docMk/>
            <pc:sldMk cId="246774282" sldId="387"/>
            <ac:spMk id="15" creationId="{73CB995B-8D49-DB27-DBD0-9CCAC84D84B9}"/>
          </ac:spMkLst>
        </pc:spChg>
        <pc:spChg chg="add mod">
          <ac:chgData name="Jobst, Hanna" userId="e86661fe-1388-4b75-a8f7-53b9f30bf181" providerId="ADAL" clId="{9EBA97F5-AA3D-A24B-BFAD-BF478EA5639D}" dt="2024-02-08T14:20:05.468" v="6021"/>
          <ac:spMkLst>
            <pc:docMk/>
            <pc:sldMk cId="246774282" sldId="387"/>
            <ac:spMk id="17" creationId="{7BCF4010-AE1C-FF7B-FF0E-80E751137EE0}"/>
          </ac:spMkLst>
        </pc:spChg>
        <pc:graphicFrameChg chg="mod">
          <ac:chgData name="Jobst, Hanna" userId="e86661fe-1388-4b75-a8f7-53b9f30bf181" providerId="ADAL" clId="{9EBA97F5-AA3D-A24B-BFAD-BF478EA5639D}" dt="2024-02-08T14:20:03.614" v="6019"/>
          <ac:graphicFrameMkLst>
            <pc:docMk/>
            <pc:sldMk cId="246774282" sldId="387"/>
            <ac:graphicFrameMk id="11" creationId="{B66183B1-B3C6-4839-80D8-050CC084A908}"/>
          </ac:graphicFrameMkLst>
        </pc:graphicFrameChg>
      </pc:sldChg>
      <pc:sldChg chg="addSp delSp modSp mod">
        <pc:chgData name="Jobst, Hanna" userId="e86661fe-1388-4b75-a8f7-53b9f30bf181" providerId="ADAL" clId="{9EBA97F5-AA3D-A24B-BFAD-BF478EA5639D}" dt="2024-02-08T14:48:47.485" v="6280" actId="20577"/>
        <pc:sldMkLst>
          <pc:docMk/>
          <pc:sldMk cId="46430825" sldId="388"/>
        </pc:sldMkLst>
        <pc:spChg chg="del">
          <ac:chgData name="Jobst, Hanna" userId="e86661fe-1388-4b75-a8f7-53b9f30bf181" providerId="ADAL" clId="{9EBA97F5-AA3D-A24B-BFAD-BF478EA5639D}" dt="2024-02-08T14:20:09.424" v="6049" actId="478"/>
          <ac:spMkLst>
            <pc:docMk/>
            <pc:sldMk cId="46430825" sldId="388"/>
            <ac:spMk id="2" creationId="{96F78D03-C841-C7E8-0698-09133ED3F306}"/>
          </ac:spMkLst>
        </pc:spChg>
        <pc:spChg chg="add del mod modVis">
          <ac:chgData name="Jobst, Hanna" userId="e86661fe-1388-4b75-a8f7-53b9f30bf181" providerId="ADAL" clId="{9EBA97F5-AA3D-A24B-BFAD-BF478EA5639D}" dt="2024-02-08T14:20:08.533" v="6046"/>
          <ac:spMkLst>
            <pc:docMk/>
            <pc:sldMk cId="46430825" sldId="388"/>
            <ac:spMk id="5" creationId="{DBC872EE-4871-9E85-ABD9-9C51C37775EA}"/>
          </ac:spMkLst>
        </pc:spChg>
        <pc:spChg chg="mod">
          <ac:chgData name="Jobst, Hanna" userId="e86661fe-1388-4b75-a8f7-53b9f30bf181" providerId="ADAL" clId="{9EBA97F5-AA3D-A24B-BFAD-BF478EA5639D}" dt="2024-02-08T14:20:08.461" v="6022" actId="948"/>
          <ac:spMkLst>
            <pc:docMk/>
            <pc:sldMk cId="46430825" sldId="388"/>
            <ac:spMk id="6" creationId="{86F26F9A-FC81-B7A0-9CDC-3FA00BA02330}"/>
          </ac:spMkLst>
        </pc:spChg>
        <pc:spChg chg="mod">
          <ac:chgData name="Jobst, Hanna" userId="e86661fe-1388-4b75-a8f7-53b9f30bf181" providerId="ADAL" clId="{9EBA97F5-AA3D-A24B-BFAD-BF478EA5639D}" dt="2024-02-08T14:48:47.485" v="6280" actId="20577"/>
          <ac:spMkLst>
            <pc:docMk/>
            <pc:sldMk cId="46430825" sldId="388"/>
            <ac:spMk id="15" creationId="{7979A0E0-F20A-4E29-4100-BA29CFD19390}"/>
          </ac:spMkLst>
        </pc:spChg>
        <pc:spChg chg="add mod">
          <ac:chgData name="Jobst, Hanna" userId="e86661fe-1388-4b75-a8f7-53b9f30bf181" providerId="ADAL" clId="{9EBA97F5-AA3D-A24B-BFAD-BF478EA5639D}" dt="2024-02-08T14:20:09.781" v="6050"/>
          <ac:spMkLst>
            <pc:docMk/>
            <pc:sldMk cId="46430825" sldId="388"/>
            <ac:spMk id="17" creationId="{F9A85701-0361-97B7-E3A6-0767CABF8134}"/>
          </ac:spMkLst>
        </pc:spChg>
        <pc:graphicFrameChg chg="mod">
          <ac:chgData name="Jobst, Hanna" userId="e86661fe-1388-4b75-a8f7-53b9f30bf181" providerId="ADAL" clId="{9EBA97F5-AA3D-A24B-BFAD-BF478EA5639D}" dt="2024-02-08T14:20:08.538" v="6048"/>
          <ac:graphicFrameMkLst>
            <pc:docMk/>
            <pc:sldMk cId="46430825" sldId="388"/>
            <ac:graphicFrameMk id="11" creationId="{5EE459C3-1D5B-2851-DD49-02122342D2F2}"/>
          </ac:graphicFrameMkLst>
        </pc:graphicFrameChg>
      </pc:sldChg>
      <pc:sldChg chg="addSp delSp modSp add mod">
        <pc:chgData name="Jobst, Hanna" userId="e86661fe-1388-4b75-a8f7-53b9f30bf181" providerId="ADAL" clId="{9EBA97F5-AA3D-A24B-BFAD-BF478EA5639D}" dt="2024-02-08T14:20:42.387" v="6089"/>
        <pc:sldMkLst>
          <pc:docMk/>
          <pc:sldMk cId="1552487113" sldId="389"/>
        </pc:sldMkLst>
        <pc:spChg chg="del">
          <ac:chgData name="Jobst, Hanna" userId="e86661fe-1388-4b75-a8f7-53b9f30bf181" providerId="ADAL" clId="{9EBA97F5-AA3D-A24B-BFAD-BF478EA5639D}" dt="2024-02-08T14:20:41.900" v="6088" actId="478"/>
          <ac:spMkLst>
            <pc:docMk/>
            <pc:sldMk cId="1552487113" sldId="389"/>
            <ac:spMk id="2" creationId="{FAE7E7F3-E60A-54D7-91E7-BEE8A2C671FD}"/>
          </ac:spMkLst>
        </pc:spChg>
        <pc:spChg chg="add del mod modVis">
          <ac:chgData name="Jobst, Hanna" userId="e86661fe-1388-4b75-a8f7-53b9f30bf181" providerId="ADAL" clId="{9EBA97F5-AA3D-A24B-BFAD-BF478EA5639D}" dt="2024-02-08T14:20:38.195" v="6085"/>
          <ac:spMkLst>
            <pc:docMk/>
            <pc:sldMk cId="1552487113" sldId="389"/>
            <ac:spMk id="5" creationId="{F685FEFD-530B-A13A-7941-5E46C73CF6CF}"/>
          </ac:spMkLst>
        </pc:spChg>
        <pc:spChg chg="mod">
          <ac:chgData name="Jobst, Hanna" userId="e86661fe-1388-4b75-a8f7-53b9f30bf181" providerId="ADAL" clId="{9EBA97F5-AA3D-A24B-BFAD-BF478EA5639D}" dt="2024-02-08T14:20:38.141" v="6061" actId="948"/>
          <ac:spMkLst>
            <pc:docMk/>
            <pc:sldMk cId="1552487113" sldId="389"/>
            <ac:spMk id="6" creationId="{31BF8D04-73BB-3CC8-B5AC-4B23C2C269E7}"/>
          </ac:spMkLst>
        </pc:spChg>
        <pc:spChg chg="add mod">
          <ac:chgData name="Jobst, Hanna" userId="e86661fe-1388-4b75-a8f7-53b9f30bf181" providerId="ADAL" clId="{9EBA97F5-AA3D-A24B-BFAD-BF478EA5639D}" dt="2024-02-08T14:20:42.387" v="6089"/>
          <ac:spMkLst>
            <pc:docMk/>
            <pc:sldMk cId="1552487113" sldId="389"/>
            <ac:spMk id="7" creationId="{68DF320A-B777-081E-C9DB-68701119B04B}"/>
          </ac:spMkLst>
        </pc:spChg>
        <pc:spChg chg="add del mod modVis">
          <ac:chgData name="Jobst, Hanna" userId="e86661fe-1388-4b75-a8f7-53b9f30bf181" providerId="ADAL" clId="{9EBA97F5-AA3D-A24B-BFAD-BF478EA5639D}" dt="2024-02-07T09:56:26.111" v="1572"/>
          <ac:spMkLst>
            <pc:docMk/>
            <pc:sldMk cId="1552487113" sldId="389"/>
            <ac:spMk id="19" creationId="{32E266D5-2B30-E4C7-966E-369C31F9790A}"/>
          </ac:spMkLst>
        </pc:spChg>
        <pc:spChg chg="add del mod modVis">
          <ac:chgData name="Jobst, Hanna" userId="e86661fe-1388-4b75-a8f7-53b9f30bf181" providerId="ADAL" clId="{9EBA97F5-AA3D-A24B-BFAD-BF478EA5639D}" dt="2024-02-07T09:56:38.526" v="1612"/>
          <ac:spMkLst>
            <pc:docMk/>
            <pc:sldMk cId="1552487113" sldId="389"/>
            <ac:spMk id="20" creationId="{825C41F3-975A-F08F-690C-79C2C93B8019}"/>
          </ac:spMkLst>
        </pc:spChg>
        <pc:graphicFrameChg chg="mod">
          <ac:chgData name="Jobst, Hanna" userId="e86661fe-1388-4b75-a8f7-53b9f30bf181" providerId="ADAL" clId="{9EBA97F5-AA3D-A24B-BFAD-BF478EA5639D}" dt="2024-02-08T14:20:38.199" v="6087"/>
          <ac:graphicFrameMkLst>
            <pc:docMk/>
            <pc:sldMk cId="1552487113" sldId="389"/>
            <ac:graphicFrameMk id="11" creationId="{AB8A7210-83A2-8367-1C87-A8183DAAC81A}"/>
          </ac:graphicFrameMkLst>
        </pc:graphicFrameChg>
      </pc:sldChg>
      <pc:sldChg chg="addSp delSp modSp add mod">
        <pc:chgData name="Jobst, Hanna" userId="e86661fe-1388-4b75-a8f7-53b9f30bf181" providerId="ADAL" clId="{9EBA97F5-AA3D-A24B-BFAD-BF478EA5639D}" dt="2024-02-08T14:21:59.786" v="6152"/>
        <pc:sldMkLst>
          <pc:docMk/>
          <pc:sldMk cId="3007342323" sldId="390"/>
        </pc:sldMkLst>
        <pc:spChg chg="del">
          <ac:chgData name="Jobst, Hanna" userId="e86661fe-1388-4b75-a8f7-53b9f30bf181" providerId="ADAL" clId="{9EBA97F5-AA3D-A24B-BFAD-BF478EA5639D}" dt="2024-02-08T14:21:59.123" v="6151" actId="478"/>
          <ac:spMkLst>
            <pc:docMk/>
            <pc:sldMk cId="3007342323" sldId="390"/>
            <ac:spMk id="2" creationId="{C6A36B89-03B2-25DF-6DF9-B682B2708B09}"/>
          </ac:spMkLst>
        </pc:spChg>
        <pc:spChg chg="mod">
          <ac:chgData name="Jobst, Hanna" userId="e86661fe-1388-4b75-a8f7-53b9f30bf181" providerId="ADAL" clId="{9EBA97F5-AA3D-A24B-BFAD-BF478EA5639D}" dt="2024-02-08T14:21:57.306" v="6124" actId="948"/>
          <ac:spMkLst>
            <pc:docMk/>
            <pc:sldMk cId="3007342323" sldId="390"/>
            <ac:spMk id="6" creationId="{0FAA2C2A-F105-13FB-98F7-62413E4A341E}"/>
          </ac:spMkLst>
        </pc:spChg>
        <pc:spChg chg="mod">
          <ac:chgData name="Jobst, Hanna" userId="e86661fe-1388-4b75-a8f7-53b9f30bf181" providerId="ADAL" clId="{9EBA97F5-AA3D-A24B-BFAD-BF478EA5639D}" dt="2024-02-07T18:50:36.792" v="2178" actId="1038"/>
          <ac:spMkLst>
            <pc:docMk/>
            <pc:sldMk cId="3007342323" sldId="390"/>
            <ac:spMk id="18" creationId="{21E56E1F-109A-7D88-ED93-B51C2EB8A498}"/>
          </ac:spMkLst>
        </pc:spChg>
        <pc:spChg chg="add del mod modVis">
          <ac:chgData name="Jobst, Hanna" userId="e86661fe-1388-4b75-a8f7-53b9f30bf181" providerId="ADAL" clId="{9EBA97F5-AA3D-A24B-BFAD-BF478EA5639D}" dt="2024-02-07T09:57:03.244" v="1669"/>
          <ac:spMkLst>
            <pc:docMk/>
            <pc:sldMk cId="3007342323" sldId="390"/>
            <ac:spMk id="19" creationId="{551FEC76-DD68-FA68-388A-E05D518995F8}"/>
          </ac:spMkLst>
        </pc:spChg>
        <pc:spChg chg="add del mod modVis">
          <ac:chgData name="Jobst, Hanna" userId="e86661fe-1388-4b75-a8f7-53b9f30bf181" providerId="ADAL" clId="{9EBA97F5-AA3D-A24B-BFAD-BF478EA5639D}" dt="2024-02-08T14:21:57.367" v="6148"/>
          <ac:spMkLst>
            <pc:docMk/>
            <pc:sldMk cId="3007342323" sldId="390"/>
            <ac:spMk id="20" creationId="{A36D8B81-8276-43AE-81B7-371A19EC4261}"/>
          </ac:spMkLst>
        </pc:spChg>
        <pc:spChg chg="mod">
          <ac:chgData name="Jobst, Hanna" userId="e86661fe-1388-4b75-a8f7-53b9f30bf181" providerId="ADAL" clId="{9EBA97F5-AA3D-A24B-BFAD-BF478EA5639D}" dt="2024-02-07T18:50:55.809" v="2187" actId="1076"/>
          <ac:spMkLst>
            <pc:docMk/>
            <pc:sldMk cId="3007342323" sldId="390"/>
            <ac:spMk id="21" creationId="{A4EFFF30-3EEB-44C8-794D-96C40DE1A08F}"/>
          </ac:spMkLst>
        </pc:spChg>
        <pc:spChg chg="add mod">
          <ac:chgData name="Jobst, Hanna" userId="e86661fe-1388-4b75-a8f7-53b9f30bf181" providerId="ADAL" clId="{9EBA97F5-AA3D-A24B-BFAD-BF478EA5639D}" dt="2024-02-08T14:21:59.786" v="6152"/>
          <ac:spMkLst>
            <pc:docMk/>
            <pc:sldMk cId="3007342323" sldId="390"/>
            <ac:spMk id="22" creationId="{9E605D8E-15E4-0954-0758-83B0D42E00B2}"/>
          </ac:spMkLst>
        </pc:spChg>
        <pc:spChg chg="mod">
          <ac:chgData name="Jobst, Hanna" userId="e86661fe-1388-4b75-a8f7-53b9f30bf181" providerId="ADAL" clId="{9EBA97F5-AA3D-A24B-BFAD-BF478EA5639D}" dt="2024-02-07T18:50:42.519" v="2179" actId="1076"/>
          <ac:spMkLst>
            <pc:docMk/>
            <pc:sldMk cId="3007342323" sldId="390"/>
            <ac:spMk id="25" creationId="{37C4F9F7-A718-3EFA-E3EB-2A8540DF1E60}"/>
          </ac:spMkLst>
        </pc:spChg>
        <pc:graphicFrameChg chg="mod">
          <ac:chgData name="Jobst, Hanna" userId="e86661fe-1388-4b75-a8f7-53b9f30bf181" providerId="ADAL" clId="{9EBA97F5-AA3D-A24B-BFAD-BF478EA5639D}" dt="2024-02-08T14:21:57.371" v="6150"/>
          <ac:graphicFrameMkLst>
            <pc:docMk/>
            <pc:sldMk cId="3007342323" sldId="390"/>
            <ac:graphicFrameMk id="11" creationId="{A1FA7C2B-1A86-D7B6-6420-D125F2EEAA07}"/>
          </ac:graphicFrameMkLst>
        </pc:graphicFrameChg>
      </pc:sldChg>
      <pc:sldChg chg="modSp add mod">
        <pc:chgData name="Jobst, Hanna" userId="e86661fe-1388-4b75-a8f7-53b9f30bf181" providerId="ADAL" clId="{9EBA97F5-AA3D-A24B-BFAD-BF478EA5639D}" dt="2024-02-07T09:57:11.381" v="1682"/>
        <pc:sldMkLst>
          <pc:docMk/>
          <pc:sldMk cId="1252557889" sldId="391"/>
        </pc:sldMkLst>
        <pc:spChg chg="mod">
          <ac:chgData name="Jobst, Hanna" userId="e86661fe-1388-4b75-a8f7-53b9f30bf181" providerId="ADAL" clId="{9EBA97F5-AA3D-A24B-BFAD-BF478EA5639D}" dt="2024-02-07T09:57:11.374" v="1678" actId="948"/>
          <ac:spMkLst>
            <pc:docMk/>
            <pc:sldMk cId="1252557889" sldId="391"/>
            <ac:spMk id="6" creationId="{5FF663DB-B64B-257A-199B-589D8F61E03E}"/>
          </ac:spMkLst>
        </pc:spChg>
        <pc:graphicFrameChg chg="mod">
          <ac:chgData name="Jobst, Hanna" userId="e86661fe-1388-4b75-a8f7-53b9f30bf181" providerId="ADAL" clId="{9EBA97F5-AA3D-A24B-BFAD-BF478EA5639D}" dt="2024-02-07T09:57:11.381" v="1682"/>
          <ac:graphicFrameMkLst>
            <pc:docMk/>
            <pc:sldMk cId="1252557889" sldId="391"/>
            <ac:graphicFrameMk id="11" creationId="{AB643CA3-1F72-B4D1-2DAA-BF5F37EC9315}"/>
          </ac:graphicFrameMkLst>
        </pc:graphicFrameChg>
      </pc:sldChg>
      <pc:sldChg chg="addSp delSp modSp add mod">
        <pc:chgData name="Jobst, Hanna" userId="e86661fe-1388-4b75-a8f7-53b9f30bf181" providerId="ADAL" clId="{9EBA97F5-AA3D-A24B-BFAD-BF478EA5639D}" dt="2024-02-07T09:57:22.713" v="1723"/>
        <pc:sldMkLst>
          <pc:docMk/>
          <pc:sldMk cId="296096822" sldId="392"/>
        </pc:sldMkLst>
        <pc:spChg chg="mod">
          <ac:chgData name="Jobst, Hanna" userId="e86661fe-1388-4b75-a8f7-53b9f30bf181" providerId="ADAL" clId="{9EBA97F5-AA3D-A24B-BFAD-BF478EA5639D}" dt="2024-02-07T09:57:22.669" v="1697" actId="948"/>
          <ac:spMkLst>
            <pc:docMk/>
            <pc:sldMk cId="296096822" sldId="392"/>
            <ac:spMk id="6" creationId="{760FAC90-1D70-A3B7-96E7-E69F7EB89171}"/>
          </ac:spMkLst>
        </pc:spChg>
        <pc:spChg chg="add del mod modVis">
          <ac:chgData name="Jobst, Hanna" userId="e86661fe-1388-4b75-a8f7-53b9f30bf181" providerId="ADAL" clId="{9EBA97F5-AA3D-A24B-BFAD-BF478EA5639D}" dt="2024-02-07T09:57:22.709" v="1721"/>
          <ac:spMkLst>
            <pc:docMk/>
            <pc:sldMk cId="296096822" sldId="392"/>
            <ac:spMk id="19" creationId="{527BCAC7-5ABC-3157-1BD4-C90BCFF2744B}"/>
          </ac:spMkLst>
        </pc:spChg>
        <pc:graphicFrameChg chg="mod">
          <ac:chgData name="Jobst, Hanna" userId="e86661fe-1388-4b75-a8f7-53b9f30bf181" providerId="ADAL" clId="{9EBA97F5-AA3D-A24B-BFAD-BF478EA5639D}" dt="2024-02-07T09:57:22.713" v="1723"/>
          <ac:graphicFrameMkLst>
            <pc:docMk/>
            <pc:sldMk cId="296096822" sldId="392"/>
            <ac:graphicFrameMk id="11" creationId="{0B437FC2-0999-C502-D712-7711FA4171C6}"/>
          </ac:graphicFrameMkLst>
        </pc:graphicFrameChg>
      </pc:sldChg>
      <pc:sldChg chg="addSp delSp modSp mod modNotesTx">
        <pc:chgData name="Jobst, Hanna" userId="e86661fe-1388-4b75-a8f7-53b9f30bf181" providerId="ADAL" clId="{9EBA97F5-AA3D-A24B-BFAD-BF478EA5639D}" dt="2024-02-08T15:29:54.123" v="6602"/>
        <pc:sldMkLst>
          <pc:docMk/>
          <pc:sldMk cId="4005422959" sldId="392"/>
        </pc:sldMkLst>
        <pc:spChg chg="del">
          <ac:chgData name="Jobst, Hanna" userId="e86661fe-1388-4b75-a8f7-53b9f30bf181" providerId="ADAL" clId="{9EBA97F5-AA3D-A24B-BFAD-BF478EA5639D}" dt="2024-02-08T08:57:05.460" v="2520" actId="478"/>
          <ac:spMkLst>
            <pc:docMk/>
            <pc:sldMk cId="4005422959" sldId="392"/>
            <ac:spMk id="2" creationId="{37CCBD89-FFFC-7600-5C67-168EFE7F39DB}"/>
          </ac:spMkLst>
        </pc:spChg>
        <pc:spChg chg="mod">
          <ac:chgData name="Jobst, Hanna" userId="e86661fe-1388-4b75-a8f7-53b9f30bf181" providerId="ADAL" clId="{9EBA97F5-AA3D-A24B-BFAD-BF478EA5639D}" dt="2024-02-08T15:10:15.060" v="6455" actId="14100"/>
          <ac:spMkLst>
            <pc:docMk/>
            <pc:sldMk cId="4005422959" sldId="392"/>
            <ac:spMk id="5" creationId="{B6E5FCCD-7336-5F80-0BC7-AF23B54E413F}"/>
          </ac:spMkLst>
        </pc:spChg>
        <pc:spChg chg="mod">
          <ac:chgData name="Jobst, Hanna" userId="e86661fe-1388-4b75-a8f7-53b9f30bf181" providerId="ADAL" clId="{9EBA97F5-AA3D-A24B-BFAD-BF478EA5639D}" dt="2024-02-08T15:29:54.063" v="6576" actId="948"/>
          <ac:spMkLst>
            <pc:docMk/>
            <pc:sldMk cId="4005422959" sldId="392"/>
            <ac:spMk id="6" creationId="{BA04E2C1-C809-F307-A64E-85334D8C693C}"/>
          </ac:spMkLst>
        </pc:spChg>
        <pc:spChg chg="add del mod modVis">
          <ac:chgData name="Jobst, Hanna" userId="e86661fe-1388-4b75-a8f7-53b9f30bf181" providerId="ADAL" clId="{9EBA97F5-AA3D-A24B-BFAD-BF478EA5639D}" dt="2024-02-07T18:46:43.662" v="1781"/>
          <ac:spMkLst>
            <pc:docMk/>
            <pc:sldMk cId="4005422959" sldId="392"/>
            <ac:spMk id="7" creationId="{8768D9DE-8C85-BEE8-2B60-DA44B1294EF0}"/>
          </ac:spMkLst>
        </pc:spChg>
        <pc:spChg chg="mod">
          <ac:chgData name="Jobst, Hanna" userId="e86661fe-1388-4b75-a8f7-53b9f30bf181" providerId="ADAL" clId="{9EBA97F5-AA3D-A24B-BFAD-BF478EA5639D}" dt="2024-02-07T18:46:33.890" v="1750" actId="20577"/>
          <ac:spMkLst>
            <pc:docMk/>
            <pc:sldMk cId="4005422959" sldId="392"/>
            <ac:spMk id="9" creationId="{55460CBD-F2EF-ABFC-72FA-03C1E221A5AB}"/>
          </ac:spMkLst>
        </pc:spChg>
        <pc:spChg chg="add del mod modVis">
          <ac:chgData name="Jobst, Hanna" userId="e86661fe-1388-4b75-a8f7-53b9f30bf181" providerId="ADAL" clId="{9EBA97F5-AA3D-A24B-BFAD-BF478EA5639D}" dt="2024-02-07T18:46:45.051" v="1814"/>
          <ac:spMkLst>
            <pc:docMk/>
            <pc:sldMk cId="4005422959" sldId="392"/>
            <ac:spMk id="10" creationId="{FBF1B5D0-435D-E107-2B7B-52EECFE46AE5}"/>
          </ac:spMkLst>
        </pc:spChg>
        <pc:spChg chg="add del mod modVis">
          <ac:chgData name="Jobst, Hanna" userId="e86661fe-1388-4b75-a8f7-53b9f30bf181" providerId="ADAL" clId="{9EBA97F5-AA3D-A24B-BFAD-BF478EA5639D}" dt="2024-02-07T18:46:45.848" v="1843"/>
          <ac:spMkLst>
            <pc:docMk/>
            <pc:sldMk cId="4005422959" sldId="392"/>
            <ac:spMk id="12" creationId="{20CD4F2E-6D28-27EE-2CD2-6FE9547ECE42}"/>
          </ac:spMkLst>
        </pc:spChg>
        <pc:spChg chg="del">
          <ac:chgData name="Jobst, Hanna" userId="e86661fe-1388-4b75-a8f7-53b9f30bf181" providerId="ADAL" clId="{9EBA97F5-AA3D-A24B-BFAD-BF478EA5639D}" dt="2024-02-08T14:22:14.672" v="6158" actId="478"/>
          <ac:spMkLst>
            <pc:docMk/>
            <pc:sldMk cId="4005422959" sldId="392"/>
            <ac:spMk id="12" creationId="{2DF35C17-9AB8-48CB-EE5D-561298C03D31}"/>
          </ac:spMkLst>
        </pc:spChg>
        <pc:spChg chg="add del mod modVis">
          <ac:chgData name="Jobst, Hanna" userId="e86661fe-1388-4b75-a8f7-53b9f30bf181" providerId="ADAL" clId="{9EBA97F5-AA3D-A24B-BFAD-BF478EA5639D}" dt="2024-02-07T18:46:48.284" v="1880"/>
          <ac:spMkLst>
            <pc:docMk/>
            <pc:sldMk cId="4005422959" sldId="392"/>
            <ac:spMk id="13" creationId="{028A29E1-C617-6B95-7C8E-42CF1CD0E4D2}"/>
          </ac:spMkLst>
        </pc:spChg>
        <pc:spChg chg="add del mod modVis">
          <ac:chgData name="Jobst, Hanna" userId="e86661fe-1388-4b75-a8f7-53b9f30bf181" providerId="ADAL" clId="{9EBA97F5-AA3D-A24B-BFAD-BF478EA5639D}" dt="2024-02-07T18:46:49.534" v="1912"/>
          <ac:spMkLst>
            <pc:docMk/>
            <pc:sldMk cId="4005422959" sldId="392"/>
            <ac:spMk id="14" creationId="{F3C38BD0-1E3A-26E7-7E77-4B1B57969DCF}"/>
          </ac:spMkLst>
        </pc:spChg>
        <pc:spChg chg="add del mod modVis">
          <ac:chgData name="Jobst, Hanna" userId="e86661fe-1388-4b75-a8f7-53b9f30bf181" providerId="ADAL" clId="{9EBA97F5-AA3D-A24B-BFAD-BF478EA5639D}" dt="2024-02-07T18:46:51.928" v="1950"/>
          <ac:spMkLst>
            <pc:docMk/>
            <pc:sldMk cId="4005422959" sldId="392"/>
            <ac:spMk id="15" creationId="{E138AF5C-BEBB-DF7C-898D-78FAD00073B9}"/>
          </ac:spMkLst>
        </pc:spChg>
        <pc:spChg chg="add del mod modVis">
          <ac:chgData name="Jobst, Hanna" userId="e86661fe-1388-4b75-a8f7-53b9f30bf181" providerId="ADAL" clId="{9EBA97F5-AA3D-A24B-BFAD-BF478EA5639D}" dt="2024-02-07T18:46:56.656" v="1983"/>
          <ac:spMkLst>
            <pc:docMk/>
            <pc:sldMk cId="4005422959" sldId="392"/>
            <ac:spMk id="16" creationId="{D0A56941-EDE0-6889-F9B5-9C72E0BB8E24}"/>
          </ac:spMkLst>
        </pc:spChg>
        <pc:spChg chg="add del mod modVis">
          <ac:chgData name="Jobst, Hanna" userId="e86661fe-1388-4b75-a8f7-53b9f30bf181" providerId="ADAL" clId="{9EBA97F5-AA3D-A24B-BFAD-BF478EA5639D}" dt="2024-02-07T18:47:01.243" v="2011"/>
          <ac:spMkLst>
            <pc:docMk/>
            <pc:sldMk cId="4005422959" sldId="392"/>
            <ac:spMk id="17" creationId="{5D99597A-AB6C-C347-A2C8-34D77190D265}"/>
          </ac:spMkLst>
        </pc:spChg>
        <pc:spChg chg="add del mod modVis">
          <ac:chgData name="Jobst, Hanna" userId="e86661fe-1388-4b75-a8f7-53b9f30bf181" providerId="ADAL" clId="{9EBA97F5-AA3D-A24B-BFAD-BF478EA5639D}" dt="2024-02-07T18:47:08.251" v="2047"/>
          <ac:spMkLst>
            <pc:docMk/>
            <pc:sldMk cId="4005422959" sldId="392"/>
            <ac:spMk id="18" creationId="{72178712-51AA-933B-8BA2-17D84023BAC2}"/>
          </ac:spMkLst>
        </pc:spChg>
        <pc:spChg chg="add del mod modVis">
          <ac:chgData name="Jobst, Hanna" userId="e86661fe-1388-4b75-a8f7-53b9f30bf181" providerId="ADAL" clId="{9EBA97F5-AA3D-A24B-BFAD-BF478EA5639D}" dt="2024-02-07T18:47:09.848" v="2078"/>
          <ac:spMkLst>
            <pc:docMk/>
            <pc:sldMk cId="4005422959" sldId="392"/>
            <ac:spMk id="19" creationId="{F02CA081-274D-789C-D357-7908E07B7F57}"/>
          </ac:spMkLst>
        </pc:spChg>
        <pc:spChg chg="add del mod modVis">
          <ac:chgData name="Jobst, Hanna" userId="e86661fe-1388-4b75-a8f7-53b9f30bf181" providerId="ADAL" clId="{9EBA97F5-AA3D-A24B-BFAD-BF478EA5639D}" dt="2024-02-07T18:47:11.857" v="2106"/>
          <ac:spMkLst>
            <pc:docMk/>
            <pc:sldMk cId="4005422959" sldId="392"/>
            <ac:spMk id="20" creationId="{746A63D5-BD1C-58E4-6885-A96ED696437A}"/>
          </ac:spMkLst>
        </pc:spChg>
        <pc:spChg chg="add del mod modVis">
          <ac:chgData name="Jobst, Hanna" userId="e86661fe-1388-4b75-a8f7-53b9f30bf181" providerId="ADAL" clId="{9EBA97F5-AA3D-A24B-BFAD-BF478EA5639D}" dt="2024-02-07T18:47:12.767" v="2134"/>
          <ac:spMkLst>
            <pc:docMk/>
            <pc:sldMk cId="4005422959" sldId="392"/>
            <ac:spMk id="21" creationId="{C3545EA4-0285-EEF1-75C0-B45C802F593B}"/>
          </ac:spMkLst>
        </pc:spChg>
        <pc:spChg chg="add mod">
          <ac:chgData name="Jobst, Hanna" userId="e86661fe-1388-4b75-a8f7-53b9f30bf181" providerId="ADAL" clId="{9EBA97F5-AA3D-A24B-BFAD-BF478EA5639D}" dt="2024-02-08T15:10:18.698" v="6456" actId="14100"/>
          <ac:spMkLst>
            <pc:docMk/>
            <pc:sldMk cId="4005422959" sldId="392"/>
            <ac:spMk id="25" creationId="{3C86030E-F3EF-F7B3-6064-DA191409909A}"/>
          </ac:spMkLst>
        </pc:spChg>
        <pc:spChg chg="add mod">
          <ac:chgData name="Jobst, Hanna" userId="e86661fe-1388-4b75-a8f7-53b9f30bf181" providerId="ADAL" clId="{9EBA97F5-AA3D-A24B-BFAD-BF478EA5639D}" dt="2024-02-08T15:10:25.761" v="6458" actId="1076"/>
          <ac:spMkLst>
            <pc:docMk/>
            <pc:sldMk cId="4005422959" sldId="392"/>
            <ac:spMk id="26" creationId="{D814773C-69FD-6652-1BA2-19FB688A48A9}"/>
          </ac:spMkLst>
        </pc:spChg>
        <pc:spChg chg="add mod">
          <ac:chgData name="Jobst, Hanna" userId="e86661fe-1388-4b75-a8f7-53b9f30bf181" providerId="ADAL" clId="{9EBA97F5-AA3D-A24B-BFAD-BF478EA5639D}" dt="2024-02-08T08:57:10.341" v="2521"/>
          <ac:spMkLst>
            <pc:docMk/>
            <pc:sldMk cId="4005422959" sldId="392"/>
            <ac:spMk id="27" creationId="{B8C2147C-873F-75A1-2D11-B92E38E8CAF0}"/>
          </ac:spMkLst>
        </pc:spChg>
        <pc:spChg chg="add mod">
          <ac:chgData name="Jobst, Hanna" userId="e86661fe-1388-4b75-a8f7-53b9f30bf181" providerId="ADAL" clId="{9EBA97F5-AA3D-A24B-BFAD-BF478EA5639D}" dt="2024-02-08T14:22:12.345" v="6157"/>
          <ac:spMkLst>
            <pc:docMk/>
            <pc:sldMk cId="4005422959" sldId="392"/>
            <ac:spMk id="28" creationId="{F87E7ADC-F77F-EC33-903D-C3010493D8B6}"/>
          </ac:spMkLst>
        </pc:spChg>
        <pc:spChg chg="add del mod modVis">
          <ac:chgData name="Jobst, Hanna" userId="e86661fe-1388-4b75-a8f7-53b9f30bf181" providerId="ADAL" clId="{9EBA97F5-AA3D-A24B-BFAD-BF478EA5639D}" dt="2024-02-08T15:29:54.118" v="6600"/>
          <ac:spMkLst>
            <pc:docMk/>
            <pc:sldMk cId="4005422959" sldId="392"/>
            <ac:spMk id="29" creationId="{EFD29CF0-C9D2-8ED3-5770-E9E13D78960B}"/>
          </ac:spMkLst>
        </pc:spChg>
        <pc:graphicFrameChg chg="mod">
          <ac:chgData name="Jobst, Hanna" userId="e86661fe-1388-4b75-a8f7-53b9f30bf181" providerId="ADAL" clId="{9EBA97F5-AA3D-A24B-BFAD-BF478EA5639D}" dt="2024-02-08T15:29:54.123" v="6602"/>
          <ac:graphicFrameMkLst>
            <pc:docMk/>
            <pc:sldMk cId="4005422959" sldId="392"/>
            <ac:graphicFrameMk id="11" creationId="{2DBC158D-7FBA-A088-1F71-AE4344E42631}"/>
          </ac:graphicFrameMkLst>
        </pc:graphicFrameChg>
        <pc:picChg chg="add mod">
          <ac:chgData name="Jobst, Hanna" userId="e86661fe-1388-4b75-a8f7-53b9f30bf181" providerId="ADAL" clId="{9EBA97F5-AA3D-A24B-BFAD-BF478EA5639D}" dt="2024-02-08T08:56:29.228" v="2519" actId="1076"/>
          <ac:picMkLst>
            <pc:docMk/>
            <pc:sldMk cId="4005422959" sldId="392"/>
            <ac:picMk id="22" creationId="{1437B042-A2F0-5D04-6BDC-40A45B5378BF}"/>
          </ac:picMkLst>
        </pc:picChg>
        <pc:picChg chg="add mod">
          <ac:chgData name="Jobst, Hanna" userId="e86661fe-1388-4b75-a8f7-53b9f30bf181" providerId="ADAL" clId="{9EBA97F5-AA3D-A24B-BFAD-BF478EA5639D}" dt="2024-02-08T08:55:11.130" v="2497" actId="1076"/>
          <ac:picMkLst>
            <pc:docMk/>
            <pc:sldMk cId="4005422959" sldId="392"/>
            <ac:picMk id="23" creationId="{4DC29C84-0477-5385-B52C-250001E8214E}"/>
          </ac:picMkLst>
        </pc:picChg>
        <pc:picChg chg="add mod">
          <ac:chgData name="Jobst, Hanna" userId="e86661fe-1388-4b75-a8f7-53b9f30bf181" providerId="ADAL" clId="{9EBA97F5-AA3D-A24B-BFAD-BF478EA5639D}" dt="2024-02-08T08:55:15.100" v="2498" actId="1076"/>
          <ac:picMkLst>
            <pc:docMk/>
            <pc:sldMk cId="4005422959" sldId="392"/>
            <ac:picMk id="24" creationId="{3297830F-38B4-A02E-9C66-9F93F73AFB87}"/>
          </ac:picMkLst>
        </pc:picChg>
      </pc:sldChg>
      <pc:sldChg chg="addSp delSp modSp mod">
        <pc:chgData name="Jobst, Hanna" userId="e86661fe-1388-4b75-a8f7-53b9f30bf181" providerId="ADAL" clId="{9EBA97F5-AA3D-A24B-BFAD-BF478EA5639D}" dt="2024-02-08T14:22:09.735" v="6156"/>
        <pc:sldMkLst>
          <pc:docMk/>
          <pc:sldMk cId="618763114" sldId="393"/>
        </pc:sldMkLst>
        <pc:spChg chg="del">
          <ac:chgData name="Jobst, Hanna" userId="e86661fe-1388-4b75-a8f7-53b9f30bf181" providerId="ADAL" clId="{9EBA97F5-AA3D-A24B-BFAD-BF478EA5639D}" dt="2024-02-08T14:22:09.063" v="6155" actId="478"/>
          <ac:spMkLst>
            <pc:docMk/>
            <pc:sldMk cId="618763114" sldId="393"/>
            <ac:spMk id="2" creationId="{0E115A51-62CF-4761-6D93-B41197E9B986}"/>
          </ac:spMkLst>
        </pc:spChg>
        <pc:spChg chg="mod">
          <ac:chgData name="Jobst, Hanna" userId="e86661fe-1388-4b75-a8f7-53b9f30bf181" providerId="ADAL" clId="{9EBA97F5-AA3D-A24B-BFAD-BF478EA5639D}" dt="2024-02-07T18:51:20.880" v="2190" actId="2711"/>
          <ac:spMkLst>
            <pc:docMk/>
            <pc:sldMk cId="618763114" sldId="393"/>
            <ac:spMk id="5" creationId="{F91F513D-9A7E-9D23-92A7-66BC6977EB0D}"/>
          </ac:spMkLst>
        </pc:spChg>
        <pc:spChg chg="add mod">
          <ac:chgData name="Jobst, Hanna" userId="e86661fe-1388-4b75-a8f7-53b9f30bf181" providerId="ADAL" clId="{9EBA97F5-AA3D-A24B-BFAD-BF478EA5639D}" dt="2024-02-08T14:22:09.735" v="6156"/>
          <ac:spMkLst>
            <pc:docMk/>
            <pc:sldMk cId="618763114" sldId="393"/>
            <ac:spMk id="7" creationId="{1660F1DD-B458-9F38-6206-0FD37019E33D}"/>
          </ac:spMkLst>
        </pc:spChg>
      </pc:sldChg>
      <pc:sldChg chg="addSp delSp modSp add mod modNotesTx">
        <pc:chgData name="Jobst, Hanna" userId="e86661fe-1388-4b75-a8f7-53b9f30bf181" providerId="ADAL" clId="{9EBA97F5-AA3D-A24B-BFAD-BF478EA5639D}" dt="2024-02-08T15:13:20.848" v="6574" actId="20577"/>
        <pc:sldMkLst>
          <pc:docMk/>
          <pc:sldMk cId="4029309494" sldId="394"/>
        </pc:sldMkLst>
        <pc:spChg chg="del">
          <ac:chgData name="Jobst, Hanna" userId="e86661fe-1388-4b75-a8f7-53b9f30bf181" providerId="ADAL" clId="{9EBA97F5-AA3D-A24B-BFAD-BF478EA5639D}" dt="2024-02-08T13:51:40.330" v="5058" actId="478"/>
          <ac:spMkLst>
            <pc:docMk/>
            <pc:sldMk cId="4029309494" sldId="394"/>
            <ac:spMk id="2" creationId="{12F74AE0-4C80-61E9-4FE7-DA183C6B3C7F}"/>
          </ac:spMkLst>
        </pc:spChg>
        <pc:spChg chg="del mod">
          <ac:chgData name="Jobst, Hanna" userId="e86661fe-1388-4b75-a8f7-53b9f30bf181" providerId="ADAL" clId="{9EBA97F5-AA3D-A24B-BFAD-BF478EA5639D}" dt="2024-02-08T13:44:56.644" v="4645" actId="478"/>
          <ac:spMkLst>
            <pc:docMk/>
            <pc:sldMk cId="4029309494" sldId="394"/>
            <ac:spMk id="5" creationId="{7ECB2CC0-5019-E48C-0159-80CB53A47F57}"/>
          </ac:spMkLst>
        </pc:spChg>
        <pc:spChg chg="mod">
          <ac:chgData name="Jobst, Hanna" userId="e86661fe-1388-4b75-a8f7-53b9f30bf181" providerId="ADAL" clId="{9EBA97F5-AA3D-A24B-BFAD-BF478EA5639D}" dt="2024-02-08T13:34:07.243" v="4251" actId="948"/>
          <ac:spMkLst>
            <pc:docMk/>
            <pc:sldMk cId="4029309494" sldId="394"/>
            <ac:spMk id="6" creationId="{595280EC-1A25-7908-08C5-6D6D213521F6}"/>
          </ac:spMkLst>
        </pc:spChg>
        <pc:spChg chg="add del mod modVis">
          <ac:chgData name="Jobst, Hanna" userId="e86661fe-1388-4b75-a8f7-53b9f30bf181" providerId="ADAL" clId="{9EBA97F5-AA3D-A24B-BFAD-BF478EA5639D}" dt="2024-02-08T13:34:03.858" v="4220"/>
          <ac:spMkLst>
            <pc:docMk/>
            <pc:sldMk cId="4029309494" sldId="394"/>
            <ac:spMk id="7" creationId="{CE84E75C-B732-82ED-CE07-0FF00225B61D}"/>
          </ac:spMkLst>
        </pc:spChg>
        <pc:spChg chg="mod">
          <ac:chgData name="Jobst, Hanna" userId="e86661fe-1388-4b75-a8f7-53b9f30bf181" providerId="ADAL" clId="{9EBA97F5-AA3D-A24B-BFAD-BF478EA5639D}" dt="2024-02-08T09:14:37.312" v="2904" actId="20577"/>
          <ac:spMkLst>
            <pc:docMk/>
            <pc:sldMk cId="4029309494" sldId="394"/>
            <ac:spMk id="9" creationId="{7F143B27-B06F-D3F5-757A-20ED91857EA3}"/>
          </ac:spMkLst>
        </pc:spChg>
        <pc:spChg chg="del mod">
          <ac:chgData name="Jobst, Hanna" userId="e86661fe-1388-4b75-a8f7-53b9f30bf181" providerId="ADAL" clId="{9EBA97F5-AA3D-A24B-BFAD-BF478EA5639D}" dt="2024-02-08T13:38:37.449" v="4367" actId="478"/>
          <ac:spMkLst>
            <pc:docMk/>
            <pc:sldMk cId="4029309494" sldId="394"/>
            <ac:spMk id="12" creationId="{4F373708-9B76-C406-35CA-88C8D6C51E1B}"/>
          </ac:spMkLst>
        </pc:spChg>
        <pc:spChg chg="add del mod modVis">
          <ac:chgData name="Jobst, Hanna" userId="e86661fe-1388-4b75-a8f7-53b9f30bf181" providerId="ADAL" clId="{9EBA97F5-AA3D-A24B-BFAD-BF478EA5639D}" dt="2024-02-08T13:34:06.349" v="4248"/>
          <ac:spMkLst>
            <pc:docMk/>
            <pc:sldMk cId="4029309494" sldId="394"/>
            <ac:spMk id="13" creationId="{8B962ABF-331E-83F5-F624-15BFE47E9B73}"/>
          </ac:spMkLst>
        </pc:spChg>
        <pc:spChg chg="del">
          <ac:chgData name="Jobst, Hanna" userId="e86661fe-1388-4b75-a8f7-53b9f30bf181" providerId="ADAL" clId="{9EBA97F5-AA3D-A24B-BFAD-BF478EA5639D}" dt="2024-02-08T09:12:21.479" v="2836" actId="478"/>
          <ac:spMkLst>
            <pc:docMk/>
            <pc:sldMk cId="4029309494" sldId="394"/>
            <ac:spMk id="14" creationId="{F0353FD1-45DD-80F7-F09E-7BD49AEA09EE}"/>
          </ac:spMkLst>
        </pc:spChg>
        <pc:spChg chg="add mod">
          <ac:chgData name="Jobst, Hanna" userId="e86661fe-1388-4b75-a8f7-53b9f30bf181" providerId="ADAL" clId="{9EBA97F5-AA3D-A24B-BFAD-BF478EA5639D}" dt="2024-02-08T14:38:03.132" v="6217" actId="207"/>
          <ac:spMkLst>
            <pc:docMk/>
            <pc:sldMk cId="4029309494" sldId="394"/>
            <ac:spMk id="15" creationId="{42DB2E0E-3114-824B-A570-B5BDF8BB3D38}"/>
          </ac:spMkLst>
        </pc:spChg>
        <pc:spChg chg="del">
          <ac:chgData name="Jobst, Hanna" userId="e86661fe-1388-4b75-a8f7-53b9f30bf181" providerId="ADAL" clId="{9EBA97F5-AA3D-A24B-BFAD-BF478EA5639D}" dt="2024-02-08T09:12:21.479" v="2836" actId="478"/>
          <ac:spMkLst>
            <pc:docMk/>
            <pc:sldMk cId="4029309494" sldId="394"/>
            <ac:spMk id="16" creationId="{58735926-D3C5-60DB-22AD-81585D1C0E6B}"/>
          </ac:spMkLst>
        </pc:spChg>
        <pc:spChg chg="add mod">
          <ac:chgData name="Jobst, Hanna" userId="e86661fe-1388-4b75-a8f7-53b9f30bf181" providerId="ADAL" clId="{9EBA97F5-AA3D-A24B-BFAD-BF478EA5639D}" dt="2024-02-08T14:38:10.126" v="6218" actId="207"/>
          <ac:spMkLst>
            <pc:docMk/>
            <pc:sldMk cId="4029309494" sldId="394"/>
            <ac:spMk id="17" creationId="{3A09B070-9C7F-BA3A-951A-1A568ECC3C2C}"/>
          </ac:spMkLst>
        </pc:spChg>
        <pc:spChg chg="del">
          <ac:chgData name="Jobst, Hanna" userId="e86661fe-1388-4b75-a8f7-53b9f30bf181" providerId="ADAL" clId="{9EBA97F5-AA3D-A24B-BFAD-BF478EA5639D}" dt="2024-02-08T09:12:24.659" v="2837" actId="478"/>
          <ac:spMkLst>
            <pc:docMk/>
            <pc:sldMk cId="4029309494" sldId="394"/>
            <ac:spMk id="18" creationId="{3B49FC67-CBEE-F927-8051-4D02CE4002A9}"/>
          </ac:spMkLst>
        </pc:spChg>
        <pc:spChg chg="add del mod">
          <ac:chgData name="Jobst, Hanna" userId="e86661fe-1388-4b75-a8f7-53b9f30bf181" providerId="ADAL" clId="{9EBA97F5-AA3D-A24B-BFAD-BF478EA5639D}" dt="2024-02-08T13:46:18.821" v="4699" actId="478"/>
          <ac:spMkLst>
            <pc:docMk/>
            <pc:sldMk cId="4029309494" sldId="394"/>
            <ac:spMk id="21" creationId="{DE3CB0C9-B845-DF18-A869-74FD3C9C7585}"/>
          </ac:spMkLst>
        </pc:spChg>
        <pc:spChg chg="add del mod">
          <ac:chgData name="Jobst, Hanna" userId="e86661fe-1388-4b75-a8f7-53b9f30bf181" providerId="ADAL" clId="{9EBA97F5-AA3D-A24B-BFAD-BF478EA5639D}" dt="2024-02-08T13:46:21.531" v="4700" actId="478"/>
          <ac:spMkLst>
            <pc:docMk/>
            <pc:sldMk cId="4029309494" sldId="394"/>
            <ac:spMk id="23" creationId="{F48F05C3-07F5-A880-BC43-883C5BCB076A}"/>
          </ac:spMkLst>
        </pc:spChg>
        <pc:spChg chg="add mod">
          <ac:chgData name="Jobst, Hanna" userId="e86661fe-1388-4b75-a8f7-53b9f30bf181" providerId="ADAL" clId="{9EBA97F5-AA3D-A24B-BFAD-BF478EA5639D}" dt="2024-02-08T13:45:04.973" v="4646"/>
          <ac:spMkLst>
            <pc:docMk/>
            <pc:sldMk cId="4029309494" sldId="394"/>
            <ac:spMk id="24" creationId="{DB1FE4B4-5EF7-D178-06D5-CC76E076224A}"/>
          </ac:spMkLst>
        </pc:spChg>
        <pc:spChg chg="add del mod">
          <ac:chgData name="Jobst, Hanna" userId="e86661fe-1388-4b75-a8f7-53b9f30bf181" providerId="ADAL" clId="{9EBA97F5-AA3D-A24B-BFAD-BF478EA5639D}" dt="2024-02-08T13:45:08.967" v="4647" actId="478"/>
          <ac:spMkLst>
            <pc:docMk/>
            <pc:sldMk cId="4029309494" sldId="394"/>
            <ac:spMk id="27" creationId="{18E4129A-5560-BE5D-F9BD-829D00C5BB63}"/>
          </ac:spMkLst>
        </pc:spChg>
        <pc:spChg chg="add mod">
          <ac:chgData name="Jobst, Hanna" userId="e86661fe-1388-4b75-a8f7-53b9f30bf181" providerId="ADAL" clId="{9EBA97F5-AA3D-A24B-BFAD-BF478EA5639D}" dt="2024-02-08T14:05:48.064" v="5563" actId="20577"/>
          <ac:spMkLst>
            <pc:docMk/>
            <pc:sldMk cId="4029309494" sldId="394"/>
            <ac:spMk id="28" creationId="{E01B10ED-D9BD-6584-1CB8-BC2B4CD9EF5B}"/>
          </ac:spMkLst>
        </pc:spChg>
        <pc:spChg chg="add mod">
          <ac:chgData name="Jobst, Hanna" userId="e86661fe-1388-4b75-a8f7-53b9f30bf181" providerId="ADAL" clId="{9EBA97F5-AA3D-A24B-BFAD-BF478EA5639D}" dt="2024-02-08T13:46:22.046" v="4701"/>
          <ac:spMkLst>
            <pc:docMk/>
            <pc:sldMk cId="4029309494" sldId="394"/>
            <ac:spMk id="29" creationId="{B6E34BBC-08AE-07BF-7854-EB9E823717F9}"/>
          </ac:spMkLst>
        </pc:spChg>
        <pc:spChg chg="add mod">
          <ac:chgData name="Jobst, Hanna" userId="e86661fe-1388-4b75-a8f7-53b9f30bf181" providerId="ADAL" clId="{9EBA97F5-AA3D-A24B-BFAD-BF478EA5639D}" dt="2024-02-08T13:51:40.725" v="5059"/>
          <ac:spMkLst>
            <pc:docMk/>
            <pc:sldMk cId="4029309494" sldId="394"/>
            <ac:spMk id="30" creationId="{51916B8A-8D32-538F-6792-FC508EC63544}"/>
          </ac:spMkLst>
        </pc:spChg>
        <pc:graphicFrameChg chg="mod">
          <ac:chgData name="Jobst, Hanna" userId="e86661fe-1388-4b75-a8f7-53b9f30bf181" providerId="ADAL" clId="{9EBA97F5-AA3D-A24B-BFAD-BF478EA5639D}" dt="2024-02-08T13:34:07.251" v="4255"/>
          <ac:graphicFrameMkLst>
            <pc:docMk/>
            <pc:sldMk cId="4029309494" sldId="394"/>
            <ac:graphicFrameMk id="11" creationId="{887EEFB6-6F8F-ADC2-BDCB-B378C312EF58}"/>
          </ac:graphicFrameMkLst>
        </pc:graphicFrameChg>
        <pc:picChg chg="mod">
          <ac:chgData name="Jobst, Hanna" userId="e86661fe-1388-4b75-a8f7-53b9f30bf181" providerId="ADAL" clId="{9EBA97F5-AA3D-A24B-BFAD-BF478EA5639D}" dt="2024-02-08T13:45:23.736" v="4649" actId="1076"/>
          <ac:picMkLst>
            <pc:docMk/>
            <pc:sldMk cId="4029309494" sldId="394"/>
            <ac:picMk id="10" creationId="{D9BE9EAC-5760-297E-9765-6987DAF52B49}"/>
          </ac:picMkLst>
        </pc:picChg>
        <pc:picChg chg="del">
          <ac:chgData name="Jobst, Hanna" userId="e86661fe-1388-4b75-a8f7-53b9f30bf181" providerId="ADAL" clId="{9EBA97F5-AA3D-A24B-BFAD-BF478EA5639D}" dt="2024-02-08T09:12:21.479" v="2836" actId="478"/>
          <ac:picMkLst>
            <pc:docMk/>
            <pc:sldMk cId="4029309494" sldId="394"/>
            <ac:picMk id="19" creationId="{4ADE9FE3-A5AC-ACAC-1DD6-FF5373CA1CB1}"/>
          </ac:picMkLst>
        </pc:picChg>
        <pc:picChg chg="del">
          <ac:chgData name="Jobst, Hanna" userId="e86661fe-1388-4b75-a8f7-53b9f30bf181" providerId="ADAL" clId="{9EBA97F5-AA3D-A24B-BFAD-BF478EA5639D}" dt="2024-02-08T09:12:21.479" v="2836" actId="478"/>
          <ac:picMkLst>
            <pc:docMk/>
            <pc:sldMk cId="4029309494" sldId="394"/>
            <ac:picMk id="20" creationId="{A01763A7-AB65-FC93-D913-C423D7A40FFD}"/>
          </ac:picMkLst>
        </pc:picChg>
        <pc:picChg chg="del">
          <ac:chgData name="Jobst, Hanna" userId="e86661fe-1388-4b75-a8f7-53b9f30bf181" providerId="ADAL" clId="{9EBA97F5-AA3D-A24B-BFAD-BF478EA5639D}" dt="2024-02-08T09:12:21.479" v="2836" actId="478"/>
          <ac:picMkLst>
            <pc:docMk/>
            <pc:sldMk cId="4029309494" sldId="394"/>
            <ac:picMk id="22" creationId="{AA07FE31-3771-8C70-054C-46E47B229F4E}"/>
          </ac:picMkLst>
        </pc:picChg>
      </pc:sldChg>
      <pc:sldChg chg="addSp delSp modSp add del mod modNotesTx">
        <pc:chgData name="Jobst, Hanna" userId="e86661fe-1388-4b75-a8f7-53b9f30bf181" providerId="ADAL" clId="{9EBA97F5-AA3D-A24B-BFAD-BF478EA5639D}" dt="2024-02-08T15:12:55.869" v="6510" actId="20577"/>
        <pc:sldMkLst>
          <pc:docMk/>
          <pc:sldMk cId="3451074536" sldId="395"/>
        </pc:sldMkLst>
        <pc:spChg chg="mod">
          <ac:chgData name="Jobst, Hanna" userId="e86661fe-1388-4b75-a8f7-53b9f30bf181" providerId="ADAL" clId="{9EBA97F5-AA3D-A24B-BFAD-BF478EA5639D}" dt="2024-02-08T14:28:22.281" v="6216" actId="20577"/>
          <ac:spMkLst>
            <pc:docMk/>
            <pc:sldMk cId="3451074536" sldId="395"/>
            <ac:spMk id="5" creationId="{8BB4E278-FC0B-EFBF-ADE6-3F27A9FA9C83}"/>
          </ac:spMkLst>
        </pc:spChg>
        <pc:spChg chg="mod">
          <ac:chgData name="Jobst, Hanna" userId="e86661fe-1388-4b75-a8f7-53b9f30bf181" providerId="ADAL" clId="{9EBA97F5-AA3D-A24B-BFAD-BF478EA5639D}" dt="2024-02-08T14:17:07.633" v="5808" actId="948"/>
          <ac:spMkLst>
            <pc:docMk/>
            <pc:sldMk cId="3451074536" sldId="395"/>
            <ac:spMk id="6" creationId="{D7EB6860-173D-A935-FC64-6274F07E7658}"/>
          </ac:spMkLst>
        </pc:spChg>
        <pc:spChg chg="add del mod modVis">
          <ac:chgData name="Jobst, Hanna" userId="e86661fe-1388-4b75-a8f7-53b9f30bf181" providerId="ADAL" clId="{9EBA97F5-AA3D-A24B-BFAD-BF478EA5639D}" dt="2024-02-08T09:20:59.641" v="3673"/>
          <ac:spMkLst>
            <pc:docMk/>
            <pc:sldMk cId="3451074536" sldId="395"/>
            <ac:spMk id="7" creationId="{1D255CF8-4E75-58D6-E3A1-8BD87E7068D7}"/>
          </ac:spMkLst>
        </pc:spChg>
        <pc:spChg chg="mod">
          <ac:chgData name="Jobst, Hanna" userId="e86661fe-1388-4b75-a8f7-53b9f30bf181" providerId="ADAL" clId="{9EBA97F5-AA3D-A24B-BFAD-BF478EA5639D}" dt="2024-02-08T09:14:55.499" v="2937" actId="20577"/>
          <ac:spMkLst>
            <pc:docMk/>
            <pc:sldMk cId="3451074536" sldId="395"/>
            <ac:spMk id="9" creationId="{64EF240C-ECD1-7C10-F490-117C10748C26}"/>
          </ac:spMkLst>
        </pc:spChg>
        <pc:spChg chg="del">
          <ac:chgData name="Jobst, Hanna" userId="e86661fe-1388-4b75-a8f7-53b9f30bf181" providerId="ADAL" clId="{9EBA97F5-AA3D-A24B-BFAD-BF478EA5639D}" dt="2024-02-08T13:43:06.284" v="4537" actId="478"/>
          <ac:spMkLst>
            <pc:docMk/>
            <pc:sldMk cId="3451074536" sldId="395"/>
            <ac:spMk id="12" creationId="{094D8B9E-AE32-06C5-5769-3AAECEEF82FB}"/>
          </ac:spMkLst>
        </pc:spChg>
        <pc:spChg chg="add del mod modVis">
          <ac:chgData name="Jobst, Hanna" userId="e86661fe-1388-4b75-a8f7-53b9f30bf181" providerId="ADAL" clId="{9EBA97F5-AA3D-A24B-BFAD-BF478EA5639D}" dt="2024-02-08T09:21:01.132" v="3704"/>
          <ac:spMkLst>
            <pc:docMk/>
            <pc:sldMk cId="3451074536" sldId="395"/>
            <ac:spMk id="13" creationId="{D8BD4EB1-239A-B115-42B3-326F106E7962}"/>
          </ac:spMkLst>
        </pc:spChg>
        <pc:spChg chg="add del mod modVis">
          <ac:chgData name="Jobst, Hanna" userId="e86661fe-1388-4b75-a8f7-53b9f30bf181" providerId="ADAL" clId="{9EBA97F5-AA3D-A24B-BFAD-BF478EA5639D}" dt="2024-02-08T09:21:04.458" v="3741"/>
          <ac:spMkLst>
            <pc:docMk/>
            <pc:sldMk cId="3451074536" sldId="395"/>
            <ac:spMk id="14" creationId="{DD0CF452-8891-3F30-B9FE-B7B39BB299B2}"/>
          </ac:spMkLst>
        </pc:spChg>
        <pc:spChg chg="add del mod modVis">
          <ac:chgData name="Jobst, Hanna" userId="e86661fe-1388-4b75-a8f7-53b9f30bf181" providerId="ADAL" clId="{9EBA97F5-AA3D-A24B-BFAD-BF478EA5639D}" dt="2024-02-08T09:21:06.531" v="3770"/>
          <ac:spMkLst>
            <pc:docMk/>
            <pc:sldMk cId="3451074536" sldId="395"/>
            <ac:spMk id="15" creationId="{94678330-82C6-A218-112D-9963A3E210B9}"/>
          </ac:spMkLst>
        </pc:spChg>
        <pc:spChg chg="add del mod modVis">
          <ac:chgData name="Jobst, Hanna" userId="e86661fe-1388-4b75-a8f7-53b9f30bf181" providerId="ADAL" clId="{9EBA97F5-AA3D-A24B-BFAD-BF478EA5639D}" dt="2024-02-08T09:21:07.735" v="3800"/>
          <ac:spMkLst>
            <pc:docMk/>
            <pc:sldMk cId="3451074536" sldId="395"/>
            <ac:spMk id="16" creationId="{539AADC8-2566-A886-7118-312F61932E39}"/>
          </ac:spMkLst>
        </pc:spChg>
        <pc:spChg chg="add del mod modVis">
          <ac:chgData name="Jobst, Hanna" userId="e86661fe-1388-4b75-a8f7-53b9f30bf181" providerId="ADAL" clId="{9EBA97F5-AA3D-A24B-BFAD-BF478EA5639D}" dt="2024-02-08T09:21:11.408" v="3841"/>
          <ac:spMkLst>
            <pc:docMk/>
            <pc:sldMk cId="3451074536" sldId="395"/>
            <ac:spMk id="17" creationId="{5C45BEF3-DD62-EC21-7A73-D2B554AB8FFB}"/>
          </ac:spMkLst>
        </pc:spChg>
        <pc:spChg chg="add del mod modVis">
          <ac:chgData name="Jobst, Hanna" userId="e86661fe-1388-4b75-a8f7-53b9f30bf181" providerId="ADAL" clId="{9EBA97F5-AA3D-A24B-BFAD-BF478EA5639D}" dt="2024-02-08T09:21:13.539" v="3875"/>
          <ac:spMkLst>
            <pc:docMk/>
            <pc:sldMk cId="3451074536" sldId="395"/>
            <ac:spMk id="18" creationId="{CBDD5A10-E7E6-53CC-0AEB-709F713B4BC7}"/>
          </ac:spMkLst>
        </pc:spChg>
        <pc:spChg chg="add del mod modVis">
          <ac:chgData name="Jobst, Hanna" userId="e86661fe-1388-4b75-a8f7-53b9f30bf181" providerId="ADAL" clId="{9EBA97F5-AA3D-A24B-BFAD-BF478EA5639D}" dt="2024-02-08T09:21:16.429" v="3903"/>
          <ac:spMkLst>
            <pc:docMk/>
            <pc:sldMk cId="3451074536" sldId="395"/>
            <ac:spMk id="19" creationId="{2BC1F4D9-8539-9040-07AE-ABB1EEE22739}"/>
          </ac:spMkLst>
        </pc:spChg>
        <pc:spChg chg="add mod">
          <ac:chgData name="Jobst, Hanna" userId="e86661fe-1388-4b75-a8f7-53b9f30bf181" providerId="ADAL" clId="{9EBA97F5-AA3D-A24B-BFAD-BF478EA5639D}" dt="2024-02-08T13:44:24.237" v="4636" actId="20577"/>
          <ac:spMkLst>
            <pc:docMk/>
            <pc:sldMk cId="3451074536" sldId="395"/>
            <ac:spMk id="20" creationId="{D072C799-4693-A42D-4768-800306704E59}"/>
          </ac:spMkLst>
        </pc:spChg>
        <pc:spChg chg="add mod">
          <ac:chgData name="Jobst, Hanna" userId="e86661fe-1388-4b75-a8f7-53b9f30bf181" providerId="ADAL" clId="{9EBA97F5-AA3D-A24B-BFAD-BF478EA5639D}" dt="2024-02-08T13:44:24.726" v="4637" actId="20577"/>
          <ac:spMkLst>
            <pc:docMk/>
            <pc:sldMk cId="3451074536" sldId="395"/>
            <ac:spMk id="21" creationId="{7F63458F-9A4D-3AAE-F9F0-763A4DF4FE9A}"/>
          </ac:spMkLst>
        </pc:spChg>
        <pc:spChg chg="add mod">
          <ac:chgData name="Jobst, Hanna" userId="e86661fe-1388-4b75-a8f7-53b9f30bf181" providerId="ADAL" clId="{9EBA97F5-AA3D-A24B-BFAD-BF478EA5639D}" dt="2024-02-08T14:05:42.239" v="5551" actId="20577"/>
          <ac:spMkLst>
            <pc:docMk/>
            <pc:sldMk cId="3451074536" sldId="395"/>
            <ac:spMk id="22" creationId="{9322DE8F-8D75-4456-05BF-3A9D677F74BC}"/>
          </ac:spMkLst>
        </pc:spChg>
        <pc:spChg chg="add mod">
          <ac:chgData name="Jobst, Hanna" userId="e86661fe-1388-4b75-a8f7-53b9f30bf181" providerId="ADAL" clId="{9EBA97F5-AA3D-A24B-BFAD-BF478EA5639D}" dt="2024-02-08T13:46:08.847" v="4698" actId="20577"/>
          <ac:spMkLst>
            <pc:docMk/>
            <pc:sldMk cId="3451074536" sldId="395"/>
            <ac:spMk id="23" creationId="{EDC00AD3-97C9-3EC8-BB06-95A4FCF3B39D}"/>
          </ac:spMkLst>
        </pc:spChg>
        <pc:spChg chg="add del mod modVis">
          <ac:chgData name="Jobst, Hanna" userId="e86661fe-1388-4b75-a8f7-53b9f30bf181" providerId="ADAL" clId="{9EBA97F5-AA3D-A24B-BFAD-BF478EA5639D}" dt="2024-02-08T14:17:07.692" v="5832"/>
          <ac:spMkLst>
            <pc:docMk/>
            <pc:sldMk cId="3451074536" sldId="395"/>
            <ac:spMk id="24" creationId="{0BB75A0C-2240-B9DB-81D2-031549EC549B}"/>
          </ac:spMkLst>
        </pc:spChg>
        <pc:graphicFrameChg chg="mod">
          <ac:chgData name="Jobst, Hanna" userId="e86661fe-1388-4b75-a8f7-53b9f30bf181" providerId="ADAL" clId="{9EBA97F5-AA3D-A24B-BFAD-BF478EA5639D}" dt="2024-02-08T14:17:07.698" v="5834"/>
          <ac:graphicFrameMkLst>
            <pc:docMk/>
            <pc:sldMk cId="3451074536" sldId="395"/>
            <ac:graphicFrameMk id="11" creationId="{1D2464B3-9421-5CEC-AA7C-FB654169C24A}"/>
          </ac:graphicFrameMkLst>
        </pc:graphicFrameChg>
        <pc:picChg chg="add mod">
          <ac:chgData name="Jobst, Hanna" userId="e86661fe-1388-4b75-a8f7-53b9f30bf181" providerId="ADAL" clId="{9EBA97F5-AA3D-A24B-BFAD-BF478EA5639D}" dt="2024-02-08T13:45:28.943" v="4650" actId="1076"/>
          <ac:picMkLst>
            <pc:docMk/>
            <pc:sldMk cId="3451074536" sldId="395"/>
            <ac:picMk id="2" creationId="{3786BC7C-E29F-AA07-0BE9-F0BBE7D715B9}"/>
          </ac:picMkLst>
        </pc:picChg>
        <pc:picChg chg="del">
          <ac:chgData name="Jobst, Hanna" userId="e86661fe-1388-4b75-a8f7-53b9f30bf181" providerId="ADAL" clId="{9EBA97F5-AA3D-A24B-BFAD-BF478EA5639D}" dt="2024-02-08T09:14:15.760" v="2843" actId="478"/>
          <ac:picMkLst>
            <pc:docMk/>
            <pc:sldMk cId="3451074536" sldId="395"/>
            <ac:picMk id="10" creationId="{A3936CCA-1CA7-AB72-B6E1-39452AA7D218}"/>
          </ac:picMkLst>
        </pc:picChg>
      </pc:sldChg>
      <pc:sldChg chg="addSp delSp modSp add mod modNotesTx">
        <pc:chgData name="Jobst, Hanna" userId="e86661fe-1388-4b75-a8f7-53b9f30bf181" providerId="ADAL" clId="{9EBA97F5-AA3D-A24B-BFAD-BF478EA5639D}" dt="2024-02-08T14:09:47.169" v="5721" actId="20577"/>
        <pc:sldMkLst>
          <pc:docMk/>
          <pc:sldMk cId="3772263421" sldId="396"/>
        </pc:sldMkLst>
        <pc:spChg chg="del">
          <ac:chgData name="Jobst, Hanna" userId="e86661fe-1388-4b75-a8f7-53b9f30bf181" providerId="ADAL" clId="{9EBA97F5-AA3D-A24B-BFAD-BF478EA5639D}" dt="2024-02-08T13:51:46.367" v="5060" actId="478"/>
          <ac:spMkLst>
            <pc:docMk/>
            <pc:sldMk cId="3772263421" sldId="396"/>
            <ac:spMk id="2" creationId="{ECDF95D9-A2B0-1C51-59F4-F25049A5BA2D}"/>
          </ac:spMkLst>
        </pc:spChg>
        <pc:spChg chg="del mod">
          <ac:chgData name="Jobst, Hanna" userId="e86661fe-1388-4b75-a8f7-53b9f30bf181" providerId="ADAL" clId="{9EBA97F5-AA3D-A24B-BFAD-BF478EA5639D}" dt="2024-02-08T13:49:38.579" v="5038" actId="478"/>
          <ac:spMkLst>
            <pc:docMk/>
            <pc:sldMk cId="3772263421" sldId="396"/>
            <ac:spMk id="5" creationId="{79A7A166-A410-F635-063B-3CD4A2A963D6}"/>
          </ac:spMkLst>
        </pc:spChg>
        <pc:spChg chg="mod">
          <ac:chgData name="Jobst, Hanna" userId="e86661fe-1388-4b75-a8f7-53b9f30bf181" providerId="ADAL" clId="{9EBA97F5-AA3D-A24B-BFAD-BF478EA5639D}" dt="2024-02-08T14:04:21.899" v="5475" actId="948"/>
          <ac:spMkLst>
            <pc:docMk/>
            <pc:sldMk cId="3772263421" sldId="396"/>
            <ac:spMk id="6" creationId="{50AC58CE-E0B0-D862-9218-CB41660F531A}"/>
          </ac:spMkLst>
        </pc:spChg>
        <pc:spChg chg="mod">
          <ac:chgData name="Jobst, Hanna" userId="e86661fe-1388-4b75-a8f7-53b9f30bf181" providerId="ADAL" clId="{9EBA97F5-AA3D-A24B-BFAD-BF478EA5639D}" dt="2024-02-08T09:15:55.645" v="2984" actId="20577"/>
          <ac:spMkLst>
            <pc:docMk/>
            <pc:sldMk cId="3772263421" sldId="396"/>
            <ac:spMk id="9" creationId="{383E135D-5FD5-BFE8-FC64-4469B715C4C5}"/>
          </ac:spMkLst>
        </pc:spChg>
        <pc:spChg chg="add mod">
          <ac:chgData name="Jobst, Hanna" userId="e86661fe-1388-4b75-a8f7-53b9f30bf181" providerId="ADAL" clId="{9EBA97F5-AA3D-A24B-BFAD-BF478EA5639D}" dt="2024-02-08T14:09:14.619" v="5679" actId="14100"/>
          <ac:spMkLst>
            <pc:docMk/>
            <pc:sldMk cId="3772263421" sldId="396"/>
            <ac:spMk id="10" creationId="{84EF827E-BFE9-3D05-8099-4B3C8E964A7A}"/>
          </ac:spMkLst>
        </pc:spChg>
        <pc:spChg chg="del">
          <ac:chgData name="Jobst, Hanna" userId="e86661fe-1388-4b75-a8f7-53b9f30bf181" providerId="ADAL" clId="{9EBA97F5-AA3D-A24B-BFAD-BF478EA5639D}" dt="2024-02-08T13:50:48.782" v="5047" actId="478"/>
          <ac:spMkLst>
            <pc:docMk/>
            <pc:sldMk cId="3772263421" sldId="396"/>
            <ac:spMk id="12" creationId="{F65E4996-A731-137C-D071-181F40DAF8B6}"/>
          </ac:spMkLst>
        </pc:spChg>
        <pc:spChg chg="add del mod">
          <ac:chgData name="Jobst, Hanna" userId="e86661fe-1388-4b75-a8f7-53b9f30bf181" providerId="ADAL" clId="{9EBA97F5-AA3D-A24B-BFAD-BF478EA5639D}" dt="2024-02-08T13:49:41.382" v="5039" actId="478"/>
          <ac:spMkLst>
            <pc:docMk/>
            <pc:sldMk cId="3772263421" sldId="396"/>
            <ac:spMk id="14" creationId="{A2A7AED0-8352-6903-BC41-280DEFB7DDF3}"/>
          </ac:spMkLst>
        </pc:spChg>
        <pc:spChg chg="add mod">
          <ac:chgData name="Jobst, Hanna" userId="e86661fe-1388-4b75-a8f7-53b9f30bf181" providerId="ADAL" clId="{9EBA97F5-AA3D-A24B-BFAD-BF478EA5639D}" dt="2024-02-08T13:49:51.495" v="5041"/>
          <ac:spMkLst>
            <pc:docMk/>
            <pc:sldMk cId="3772263421" sldId="396"/>
            <ac:spMk id="15" creationId="{23733B31-3B1A-BA45-6489-D5AAAB8E569B}"/>
          </ac:spMkLst>
        </pc:spChg>
        <pc:spChg chg="add mod">
          <ac:chgData name="Jobst, Hanna" userId="e86661fe-1388-4b75-a8f7-53b9f30bf181" providerId="ADAL" clId="{9EBA97F5-AA3D-A24B-BFAD-BF478EA5639D}" dt="2024-02-08T13:50:30.511" v="5043" actId="207"/>
          <ac:spMkLst>
            <pc:docMk/>
            <pc:sldMk cId="3772263421" sldId="396"/>
            <ac:spMk id="16" creationId="{4A0EF25E-E327-5579-14D3-142C19E1365B}"/>
          </ac:spMkLst>
        </pc:spChg>
        <pc:spChg chg="add mod">
          <ac:chgData name="Jobst, Hanna" userId="e86661fe-1388-4b75-a8f7-53b9f30bf181" providerId="ADAL" clId="{9EBA97F5-AA3D-A24B-BFAD-BF478EA5639D}" dt="2024-02-08T14:05:25.251" v="5537" actId="20577"/>
          <ac:spMkLst>
            <pc:docMk/>
            <pc:sldMk cId="3772263421" sldId="396"/>
            <ac:spMk id="17" creationId="{DBA5C3BF-9A9D-16B9-EABC-B861C2C342AE}"/>
          </ac:spMkLst>
        </pc:spChg>
        <pc:spChg chg="add mod">
          <ac:chgData name="Jobst, Hanna" userId="e86661fe-1388-4b75-a8f7-53b9f30bf181" providerId="ADAL" clId="{9EBA97F5-AA3D-A24B-BFAD-BF478EA5639D}" dt="2024-02-08T13:49:51.495" v="5041"/>
          <ac:spMkLst>
            <pc:docMk/>
            <pc:sldMk cId="3772263421" sldId="396"/>
            <ac:spMk id="18" creationId="{687BC27B-372D-EA8C-7465-50EB4B14FA5B}"/>
          </ac:spMkLst>
        </pc:spChg>
        <pc:spChg chg="add mod">
          <ac:chgData name="Jobst, Hanna" userId="e86661fe-1388-4b75-a8f7-53b9f30bf181" providerId="ADAL" clId="{9EBA97F5-AA3D-A24B-BFAD-BF478EA5639D}" dt="2024-02-08T13:51:46.790" v="5061"/>
          <ac:spMkLst>
            <pc:docMk/>
            <pc:sldMk cId="3772263421" sldId="396"/>
            <ac:spMk id="19" creationId="{44EBBFE1-6227-6EB8-9DBD-917C42A54116}"/>
          </ac:spMkLst>
        </pc:spChg>
        <pc:spChg chg="add del mod modVis">
          <ac:chgData name="Jobst, Hanna" userId="e86661fe-1388-4b75-a8f7-53b9f30bf181" providerId="ADAL" clId="{9EBA97F5-AA3D-A24B-BFAD-BF478EA5639D}" dt="2024-02-08T14:03:59.842" v="5163"/>
          <ac:spMkLst>
            <pc:docMk/>
            <pc:sldMk cId="3772263421" sldId="396"/>
            <ac:spMk id="20" creationId="{C8964774-B181-7433-A4E1-F7E6A9338793}"/>
          </ac:spMkLst>
        </pc:spChg>
        <pc:spChg chg="add del mod modVis">
          <ac:chgData name="Jobst, Hanna" userId="e86661fe-1388-4b75-a8f7-53b9f30bf181" providerId="ADAL" clId="{9EBA97F5-AA3D-A24B-BFAD-BF478EA5639D}" dt="2024-02-08T14:04:00.091" v="5192"/>
          <ac:spMkLst>
            <pc:docMk/>
            <pc:sldMk cId="3772263421" sldId="396"/>
            <ac:spMk id="21" creationId="{E4344A9C-84E6-7FE7-D144-E44AE5D3D3A5}"/>
          </ac:spMkLst>
        </pc:spChg>
        <pc:spChg chg="add del mod modVis">
          <ac:chgData name="Jobst, Hanna" userId="e86661fe-1388-4b75-a8f7-53b9f30bf181" providerId="ADAL" clId="{9EBA97F5-AA3D-A24B-BFAD-BF478EA5639D}" dt="2024-02-08T14:04:04.017" v="5239"/>
          <ac:spMkLst>
            <pc:docMk/>
            <pc:sldMk cId="3772263421" sldId="396"/>
            <ac:spMk id="22" creationId="{B5DE3BF2-3C5D-A372-6138-42CD7A232FF8}"/>
          </ac:spMkLst>
        </pc:spChg>
        <pc:spChg chg="add del mod modVis">
          <ac:chgData name="Jobst, Hanna" userId="e86661fe-1388-4b75-a8f7-53b9f30bf181" providerId="ADAL" clId="{9EBA97F5-AA3D-A24B-BFAD-BF478EA5639D}" dt="2024-02-08T14:04:07.169" v="5278"/>
          <ac:spMkLst>
            <pc:docMk/>
            <pc:sldMk cId="3772263421" sldId="396"/>
            <ac:spMk id="23" creationId="{F4FC9449-8FE2-750E-0671-378D2ED2882A}"/>
          </ac:spMkLst>
        </pc:spChg>
        <pc:spChg chg="add del mod modVis">
          <ac:chgData name="Jobst, Hanna" userId="e86661fe-1388-4b75-a8f7-53b9f30bf181" providerId="ADAL" clId="{9EBA97F5-AA3D-A24B-BFAD-BF478EA5639D}" dt="2024-02-08T14:04:08.322" v="5308"/>
          <ac:spMkLst>
            <pc:docMk/>
            <pc:sldMk cId="3772263421" sldId="396"/>
            <ac:spMk id="24" creationId="{4FA80DFA-AB32-438A-8507-EB1504DEA5A8}"/>
          </ac:spMkLst>
        </pc:spChg>
        <pc:spChg chg="add del mod modVis">
          <ac:chgData name="Jobst, Hanna" userId="e86661fe-1388-4b75-a8f7-53b9f30bf181" providerId="ADAL" clId="{9EBA97F5-AA3D-A24B-BFAD-BF478EA5639D}" dt="2024-02-08T14:04:09.702" v="5339"/>
          <ac:spMkLst>
            <pc:docMk/>
            <pc:sldMk cId="3772263421" sldId="396"/>
            <ac:spMk id="26" creationId="{6D3172A3-8951-D046-B24F-6C076F58F770}"/>
          </ac:spMkLst>
        </pc:spChg>
        <pc:spChg chg="add del mod modVis">
          <ac:chgData name="Jobst, Hanna" userId="e86661fe-1388-4b75-a8f7-53b9f30bf181" providerId="ADAL" clId="{9EBA97F5-AA3D-A24B-BFAD-BF478EA5639D}" dt="2024-02-08T14:04:11.031" v="5373"/>
          <ac:spMkLst>
            <pc:docMk/>
            <pc:sldMk cId="3772263421" sldId="396"/>
            <ac:spMk id="27" creationId="{E952FC8D-CEE9-4909-F2AF-C4CEF0315D7F}"/>
          </ac:spMkLst>
        </pc:spChg>
        <pc:spChg chg="add del mod modVis">
          <ac:chgData name="Jobst, Hanna" userId="e86661fe-1388-4b75-a8f7-53b9f30bf181" providerId="ADAL" clId="{9EBA97F5-AA3D-A24B-BFAD-BF478EA5639D}" dt="2024-02-08T14:04:13.542" v="5411"/>
          <ac:spMkLst>
            <pc:docMk/>
            <pc:sldMk cId="3772263421" sldId="396"/>
            <ac:spMk id="28" creationId="{18877806-EB54-C064-2D1B-D45D2D687EF7}"/>
          </ac:spMkLst>
        </pc:spChg>
        <pc:spChg chg="add del mod modVis">
          <ac:chgData name="Jobst, Hanna" userId="e86661fe-1388-4b75-a8f7-53b9f30bf181" providerId="ADAL" clId="{9EBA97F5-AA3D-A24B-BFAD-BF478EA5639D}" dt="2024-02-08T14:04:18.674" v="5440"/>
          <ac:spMkLst>
            <pc:docMk/>
            <pc:sldMk cId="3772263421" sldId="396"/>
            <ac:spMk id="29" creationId="{38D56D00-13CD-F744-350F-7B0FEAC1AA4C}"/>
          </ac:spMkLst>
        </pc:spChg>
        <pc:spChg chg="add del mod modVis">
          <ac:chgData name="Jobst, Hanna" userId="e86661fe-1388-4b75-a8f7-53b9f30bf181" providerId="ADAL" clId="{9EBA97F5-AA3D-A24B-BFAD-BF478EA5639D}" dt="2024-02-08T14:04:19.970" v="5471"/>
          <ac:spMkLst>
            <pc:docMk/>
            <pc:sldMk cId="3772263421" sldId="396"/>
            <ac:spMk id="30" creationId="{374A2687-4FC7-7B82-B0C8-F16A7A2E77F3}"/>
          </ac:spMkLst>
        </pc:spChg>
        <pc:spChg chg="add del mod modVis">
          <ac:chgData name="Jobst, Hanna" userId="e86661fe-1388-4b75-a8f7-53b9f30bf181" providerId="ADAL" clId="{9EBA97F5-AA3D-A24B-BFAD-BF478EA5639D}" dt="2024-02-08T14:04:21.955" v="5499"/>
          <ac:spMkLst>
            <pc:docMk/>
            <pc:sldMk cId="3772263421" sldId="396"/>
            <ac:spMk id="31" creationId="{A3F1A768-85C5-4629-1370-D549FD4F0BE9}"/>
          </ac:spMkLst>
        </pc:spChg>
        <pc:graphicFrameChg chg="mod">
          <ac:chgData name="Jobst, Hanna" userId="e86661fe-1388-4b75-a8f7-53b9f30bf181" providerId="ADAL" clId="{9EBA97F5-AA3D-A24B-BFAD-BF478EA5639D}" dt="2024-02-08T14:04:21.959" v="5501"/>
          <ac:graphicFrameMkLst>
            <pc:docMk/>
            <pc:sldMk cId="3772263421" sldId="396"/>
            <ac:graphicFrameMk id="11" creationId="{AD39AB1F-FE4B-60B2-53CD-41BAFEBAAB05}"/>
          </ac:graphicFrameMkLst>
        </pc:graphicFrameChg>
        <pc:picChg chg="del">
          <ac:chgData name="Jobst, Hanna" userId="e86661fe-1388-4b75-a8f7-53b9f30bf181" providerId="ADAL" clId="{9EBA97F5-AA3D-A24B-BFAD-BF478EA5639D}" dt="2024-02-08T09:17:09.141" v="2994" actId="478"/>
          <ac:picMkLst>
            <pc:docMk/>
            <pc:sldMk cId="3772263421" sldId="396"/>
            <ac:picMk id="2" creationId="{315CFAEE-1D1B-75BA-BFD3-808B2796BA02}"/>
          </ac:picMkLst>
        </pc:picChg>
        <pc:picChg chg="add mod">
          <ac:chgData name="Jobst, Hanna" userId="e86661fe-1388-4b75-a8f7-53b9f30bf181" providerId="ADAL" clId="{9EBA97F5-AA3D-A24B-BFAD-BF478EA5639D}" dt="2024-02-08T13:49:44.052" v="5040" actId="1076"/>
          <ac:picMkLst>
            <pc:docMk/>
            <pc:sldMk cId="3772263421" sldId="396"/>
            <ac:picMk id="7" creationId="{72910A9A-5AAF-84FD-1116-54ACFE9985D2}"/>
          </ac:picMkLst>
        </pc:picChg>
      </pc:sldChg>
      <pc:sldChg chg="addSp delSp modSp add mod modNotesTx">
        <pc:chgData name="Jobst, Hanna" userId="e86661fe-1388-4b75-a8f7-53b9f30bf181" providerId="ADAL" clId="{9EBA97F5-AA3D-A24B-BFAD-BF478EA5639D}" dt="2024-02-08T14:18:43.362" v="5891"/>
        <pc:sldMkLst>
          <pc:docMk/>
          <pc:sldMk cId="529140509" sldId="397"/>
        </pc:sldMkLst>
        <pc:spChg chg="del">
          <ac:chgData name="Jobst, Hanna" userId="e86661fe-1388-4b75-a8f7-53b9f30bf181" providerId="ADAL" clId="{9EBA97F5-AA3D-A24B-BFAD-BF478EA5639D}" dt="2024-02-08T13:51:51.940" v="5062" actId="478"/>
          <ac:spMkLst>
            <pc:docMk/>
            <pc:sldMk cId="529140509" sldId="397"/>
            <ac:spMk id="2" creationId="{C8672041-9223-1DC6-EA26-A90DB5F0BE42}"/>
          </ac:spMkLst>
        </pc:spChg>
        <pc:spChg chg="del mod">
          <ac:chgData name="Jobst, Hanna" userId="e86661fe-1388-4b75-a8f7-53b9f30bf181" providerId="ADAL" clId="{9EBA97F5-AA3D-A24B-BFAD-BF478EA5639D}" dt="2024-02-08T13:49:30.867" v="5036" actId="478"/>
          <ac:spMkLst>
            <pc:docMk/>
            <pc:sldMk cId="529140509" sldId="397"/>
            <ac:spMk id="5" creationId="{ED01D839-7919-52BA-25E7-B91CFC457334}"/>
          </ac:spMkLst>
        </pc:spChg>
        <pc:spChg chg="mod">
          <ac:chgData name="Jobst, Hanna" userId="e86661fe-1388-4b75-a8f7-53b9f30bf181" providerId="ADAL" clId="{9EBA97F5-AA3D-A24B-BFAD-BF478EA5639D}" dt="2024-02-08T14:18:43.300" v="5865" actId="948"/>
          <ac:spMkLst>
            <pc:docMk/>
            <pc:sldMk cId="529140509" sldId="397"/>
            <ac:spMk id="6" creationId="{FD8D6E69-5357-9815-7DD0-7F445C675F3A}"/>
          </ac:spMkLst>
        </pc:spChg>
        <pc:spChg chg="del">
          <ac:chgData name="Jobst, Hanna" userId="e86661fe-1388-4b75-a8f7-53b9f30bf181" providerId="ADAL" clId="{9EBA97F5-AA3D-A24B-BFAD-BF478EA5639D}" dt="2024-02-08T14:18:40.021" v="5863" actId="478"/>
          <ac:spMkLst>
            <pc:docMk/>
            <pc:sldMk cId="529140509" sldId="397"/>
            <ac:spMk id="8" creationId="{61675E77-C81E-AD40-2883-B8665F99E812}"/>
          </ac:spMkLst>
        </pc:spChg>
        <pc:spChg chg="mod">
          <ac:chgData name="Jobst, Hanna" userId="e86661fe-1388-4b75-a8f7-53b9f30bf181" providerId="ADAL" clId="{9EBA97F5-AA3D-A24B-BFAD-BF478EA5639D}" dt="2024-02-08T09:15:43.928" v="2958" actId="20577"/>
          <ac:spMkLst>
            <pc:docMk/>
            <pc:sldMk cId="529140509" sldId="397"/>
            <ac:spMk id="9" creationId="{34B344B8-510F-C232-3016-0F3C68DDA7DA}"/>
          </ac:spMkLst>
        </pc:spChg>
        <pc:spChg chg="add del mod modVis">
          <ac:chgData name="Jobst, Hanna" userId="e86661fe-1388-4b75-a8f7-53b9f30bf181" providerId="ADAL" clId="{9EBA97F5-AA3D-A24B-BFAD-BF478EA5639D}" dt="2024-02-08T09:19:32.707" v="3049"/>
          <ac:spMkLst>
            <pc:docMk/>
            <pc:sldMk cId="529140509" sldId="397"/>
            <ac:spMk id="10" creationId="{E332650A-6123-C276-02E3-93D6DC5747FD}"/>
          </ac:spMkLst>
        </pc:spChg>
        <pc:spChg chg="add del mod modVis">
          <ac:chgData name="Jobst, Hanna" userId="e86661fe-1388-4b75-a8f7-53b9f30bf181" providerId="ADAL" clId="{9EBA97F5-AA3D-A24B-BFAD-BF478EA5639D}" dt="2024-02-08T09:19:36.357" v="3088"/>
          <ac:spMkLst>
            <pc:docMk/>
            <pc:sldMk cId="529140509" sldId="397"/>
            <ac:spMk id="13" creationId="{4F64AB45-229D-BEB5-1B84-11158522F0CD}"/>
          </ac:spMkLst>
        </pc:spChg>
        <pc:spChg chg="add del mod modVis">
          <ac:chgData name="Jobst, Hanna" userId="e86661fe-1388-4b75-a8f7-53b9f30bf181" providerId="ADAL" clId="{9EBA97F5-AA3D-A24B-BFAD-BF478EA5639D}" dt="2024-02-08T09:19:38.836" v="3123"/>
          <ac:spMkLst>
            <pc:docMk/>
            <pc:sldMk cId="529140509" sldId="397"/>
            <ac:spMk id="14" creationId="{1AFBB6DE-EFEB-EDE6-5D31-2BC37E0884D2}"/>
          </ac:spMkLst>
        </pc:spChg>
        <pc:spChg chg="add del mod modVis">
          <ac:chgData name="Jobst, Hanna" userId="e86661fe-1388-4b75-a8f7-53b9f30bf181" providerId="ADAL" clId="{9EBA97F5-AA3D-A24B-BFAD-BF478EA5639D}" dt="2024-02-08T09:19:46.961" v="3172"/>
          <ac:spMkLst>
            <pc:docMk/>
            <pc:sldMk cId="529140509" sldId="397"/>
            <ac:spMk id="15" creationId="{22029AD0-E50B-B0F6-C297-6DA2B005F424}"/>
          </ac:spMkLst>
        </pc:spChg>
        <pc:spChg chg="add del mod modVis">
          <ac:chgData name="Jobst, Hanna" userId="e86661fe-1388-4b75-a8f7-53b9f30bf181" providerId="ADAL" clId="{9EBA97F5-AA3D-A24B-BFAD-BF478EA5639D}" dt="2024-02-08T09:19:48.454" v="3204"/>
          <ac:spMkLst>
            <pc:docMk/>
            <pc:sldMk cId="529140509" sldId="397"/>
            <ac:spMk id="16" creationId="{0C58F3EA-D7C2-937E-5A0E-C171E458DDB6}"/>
          </ac:spMkLst>
        </pc:spChg>
        <pc:spChg chg="add del mod modVis">
          <ac:chgData name="Jobst, Hanna" userId="e86661fe-1388-4b75-a8f7-53b9f30bf181" providerId="ADAL" clId="{9EBA97F5-AA3D-A24B-BFAD-BF478EA5639D}" dt="2024-02-08T09:19:54.886" v="3245"/>
          <ac:spMkLst>
            <pc:docMk/>
            <pc:sldMk cId="529140509" sldId="397"/>
            <ac:spMk id="17" creationId="{91D966F3-D6F9-9E23-AE40-8F7D9AF26A55}"/>
          </ac:spMkLst>
        </pc:spChg>
        <pc:spChg chg="add del mod modVis">
          <ac:chgData name="Jobst, Hanna" userId="e86661fe-1388-4b75-a8f7-53b9f30bf181" providerId="ADAL" clId="{9EBA97F5-AA3D-A24B-BFAD-BF478EA5639D}" dt="2024-02-08T09:19:55.817" v="3274"/>
          <ac:spMkLst>
            <pc:docMk/>
            <pc:sldMk cId="529140509" sldId="397"/>
            <ac:spMk id="18" creationId="{D8AF9D84-391B-BDB3-5235-D4BE57DDBF5E}"/>
          </ac:spMkLst>
        </pc:spChg>
        <pc:spChg chg="add del mod modVis">
          <ac:chgData name="Jobst, Hanna" userId="e86661fe-1388-4b75-a8f7-53b9f30bf181" providerId="ADAL" clId="{9EBA97F5-AA3D-A24B-BFAD-BF478EA5639D}" dt="2024-02-08T09:19:57.636" v="3303"/>
          <ac:spMkLst>
            <pc:docMk/>
            <pc:sldMk cId="529140509" sldId="397"/>
            <ac:spMk id="19" creationId="{90CF4E25-E2A2-C240-15BA-C2497D5D96C1}"/>
          </ac:spMkLst>
        </pc:spChg>
        <pc:spChg chg="add del mod modVis">
          <ac:chgData name="Jobst, Hanna" userId="e86661fe-1388-4b75-a8f7-53b9f30bf181" providerId="ADAL" clId="{9EBA97F5-AA3D-A24B-BFAD-BF478EA5639D}" dt="2024-02-08T09:20:00.594" v="3331"/>
          <ac:spMkLst>
            <pc:docMk/>
            <pc:sldMk cId="529140509" sldId="397"/>
            <ac:spMk id="20" creationId="{107AE636-F9B8-A50F-A454-8798B438B550}"/>
          </ac:spMkLst>
        </pc:spChg>
        <pc:spChg chg="add del mod modVis">
          <ac:chgData name="Jobst, Hanna" userId="e86661fe-1388-4b75-a8f7-53b9f30bf181" providerId="ADAL" clId="{9EBA97F5-AA3D-A24B-BFAD-BF478EA5639D}" dt="2024-02-08T09:20:05.708" v="3365"/>
          <ac:spMkLst>
            <pc:docMk/>
            <pc:sldMk cId="529140509" sldId="397"/>
            <ac:spMk id="21" creationId="{E463A6AD-5BAF-3EBB-95EA-EF382DF90712}"/>
          </ac:spMkLst>
        </pc:spChg>
        <pc:spChg chg="add del mod modVis">
          <ac:chgData name="Jobst, Hanna" userId="e86661fe-1388-4b75-a8f7-53b9f30bf181" providerId="ADAL" clId="{9EBA97F5-AA3D-A24B-BFAD-BF478EA5639D}" dt="2024-02-08T09:20:09.728" v="3393"/>
          <ac:spMkLst>
            <pc:docMk/>
            <pc:sldMk cId="529140509" sldId="397"/>
            <ac:spMk id="22" creationId="{FB924C38-5104-F2A6-DFD0-712DF3FAB8CA}"/>
          </ac:spMkLst>
        </pc:spChg>
        <pc:spChg chg="add del mod modVis">
          <ac:chgData name="Jobst, Hanna" userId="e86661fe-1388-4b75-a8f7-53b9f30bf181" providerId="ADAL" clId="{9EBA97F5-AA3D-A24B-BFAD-BF478EA5639D}" dt="2024-02-08T09:20:19.990" v="3432"/>
          <ac:spMkLst>
            <pc:docMk/>
            <pc:sldMk cId="529140509" sldId="397"/>
            <ac:spMk id="23" creationId="{F3A41789-8316-14BD-CE63-5611090C2576}"/>
          </ac:spMkLst>
        </pc:spChg>
        <pc:spChg chg="add del mod modVis">
          <ac:chgData name="Jobst, Hanna" userId="e86661fe-1388-4b75-a8f7-53b9f30bf181" providerId="ADAL" clId="{9EBA97F5-AA3D-A24B-BFAD-BF478EA5639D}" dt="2024-02-08T09:20:22.210" v="3465"/>
          <ac:spMkLst>
            <pc:docMk/>
            <pc:sldMk cId="529140509" sldId="397"/>
            <ac:spMk id="24" creationId="{B4F7AA33-E04F-3F0F-B7C9-F8A3F0727B3D}"/>
          </ac:spMkLst>
        </pc:spChg>
        <pc:spChg chg="add del mod modVis">
          <ac:chgData name="Jobst, Hanna" userId="e86661fe-1388-4b75-a8f7-53b9f30bf181" providerId="ADAL" clId="{9EBA97F5-AA3D-A24B-BFAD-BF478EA5639D}" dt="2024-02-08T09:20:23.034" v="3493"/>
          <ac:spMkLst>
            <pc:docMk/>
            <pc:sldMk cId="529140509" sldId="397"/>
            <ac:spMk id="26" creationId="{354C5052-2CC5-F8D8-1614-CAD244E07CB8}"/>
          </ac:spMkLst>
        </pc:spChg>
        <pc:spChg chg="add del mod modVis">
          <ac:chgData name="Jobst, Hanna" userId="e86661fe-1388-4b75-a8f7-53b9f30bf181" providerId="ADAL" clId="{9EBA97F5-AA3D-A24B-BFAD-BF478EA5639D}" dt="2024-02-08T09:20:26.359" v="3532"/>
          <ac:spMkLst>
            <pc:docMk/>
            <pc:sldMk cId="529140509" sldId="397"/>
            <ac:spMk id="27" creationId="{EA0976A0-D0DD-AA99-40FC-B33DFE82335D}"/>
          </ac:spMkLst>
        </pc:spChg>
        <pc:spChg chg="add del mod modVis">
          <ac:chgData name="Jobst, Hanna" userId="e86661fe-1388-4b75-a8f7-53b9f30bf181" providerId="ADAL" clId="{9EBA97F5-AA3D-A24B-BFAD-BF478EA5639D}" dt="2024-02-08T09:20:27.217" v="3562"/>
          <ac:spMkLst>
            <pc:docMk/>
            <pc:sldMk cId="529140509" sldId="397"/>
            <ac:spMk id="28" creationId="{EE4D095F-73C2-03B9-EF32-307A615B49D7}"/>
          </ac:spMkLst>
        </pc:spChg>
        <pc:spChg chg="add del mod modVis">
          <ac:chgData name="Jobst, Hanna" userId="e86661fe-1388-4b75-a8f7-53b9f30bf181" providerId="ADAL" clId="{9EBA97F5-AA3D-A24B-BFAD-BF478EA5639D}" dt="2024-02-08T09:20:29.466" v="3592"/>
          <ac:spMkLst>
            <pc:docMk/>
            <pc:sldMk cId="529140509" sldId="397"/>
            <ac:spMk id="29" creationId="{EE767312-42A8-5813-AB6A-F2878F606369}"/>
          </ac:spMkLst>
        </pc:spChg>
        <pc:spChg chg="add del mod modVis">
          <ac:chgData name="Jobst, Hanna" userId="e86661fe-1388-4b75-a8f7-53b9f30bf181" providerId="ADAL" clId="{9EBA97F5-AA3D-A24B-BFAD-BF478EA5639D}" dt="2024-02-08T09:20:38.272" v="3630"/>
          <ac:spMkLst>
            <pc:docMk/>
            <pc:sldMk cId="529140509" sldId="397"/>
            <ac:spMk id="30" creationId="{233D7088-53B8-7D52-B400-0B3835DA62F6}"/>
          </ac:spMkLst>
        </pc:spChg>
        <pc:spChg chg="add mod">
          <ac:chgData name="Jobst, Hanna" userId="e86661fe-1388-4b75-a8f7-53b9f30bf181" providerId="ADAL" clId="{9EBA97F5-AA3D-A24B-BFAD-BF478EA5639D}" dt="2024-02-08T14:16:42.975" v="5805" actId="1036"/>
          <ac:spMkLst>
            <pc:docMk/>
            <pc:sldMk cId="529140509" sldId="397"/>
            <ac:spMk id="31" creationId="{77D33805-3332-D297-A52B-679EA3C342DA}"/>
          </ac:spMkLst>
        </pc:spChg>
        <pc:spChg chg="add del mod">
          <ac:chgData name="Jobst, Hanna" userId="e86661fe-1388-4b75-a8f7-53b9f30bf181" providerId="ADAL" clId="{9EBA97F5-AA3D-A24B-BFAD-BF478EA5639D}" dt="2024-02-08T13:49:34.440" v="5037" actId="478"/>
          <ac:spMkLst>
            <pc:docMk/>
            <pc:sldMk cId="529140509" sldId="397"/>
            <ac:spMk id="33" creationId="{81C347D8-B188-FE8D-F070-2D7707643C5B}"/>
          </ac:spMkLst>
        </pc:spChg>
        <pc:spChg chg="add mod">
          <ac:chgData name="Jobst, Hanna" userId="e86661fe-1388-4b75-a8f7-53b9f30bf181" providerId="ADAL" clId="{9EBA97F5-AA3D-A24B-BFAD-BF478EA5639D}" dt="2024-02-08T13:49:53.823" v="5042"/>
          <ac:spMkLst>
            <pc:docMk/>
            <pc:sldMk cId="529140509" sldId="397"/>
            <ac:spMk id="34" creationId="{89360818-3184-9EB0-5C0E-16935869DC07}"/>
          </ac:spMkLst>
        </pc:spChg>
        <pc:spChg chg="add mod">
          <ac:chgData name="Jobst, Hanna" userId="e86661fe-1388-4b75-a8f7-53b9f30bf181" providerId="ADAL" clId="{9EBA97F5-AA3D-A24B-BFAD-BF478EA5639D}" dt="2024-02-08T13:49:53.823" v="5042"/>
          <ac:spMkLst>
            <pc:docMk/>
            <pc:sldMk cId="529140509" sldId="397"/>
            <ac:spMk id="35" creationId="{854C5204-6B1F-F9B3-AD17-F31D26017F9E}"/>
          </ac:spMkLst>
        </pc:spChg>
        <pc:spChg chg="add mod">
          <ac:chgData name="Jobst, Hanna" userId="e86661fe-1388-4b75-a8f7-53b9f30bf181" providerId="ADAL" clId="{9EBA97F5-AA3D-A24B-BFAD-BF478EA5639D}" dt="2024-02-08T13:49:53.823" v="5042"/>
          <ac:spMkLst>
            <pc:docMk/>
            <pc:sldMk cId="529140509" sldId="397"/>
            <ac:spMk id="36" creationId="{2EFB0B55-0C12-0287-336C-FCAEB91B5E8F}"/>
          </ac:spMkLst>
        </pc:spChg>
        <pc:spChg chg="add mod">
          <ac:chgData name="Jobst, Hanna" userId="e86661fe-1388-4b75-a8f7-53b9f30bf181" providerId="ADAL" clId="{9EBA97F5-AA3D-A24B-BFAD-BF478EA5639D}" dt="2024-02-08T13:49:53.823" v="5042"/>
          <ac:spMkLst>
            <pc:docMk/>
            <pc:sldMk cId="529140509" sldId="397"/>
            <ac:spMk id="37" creationId="{FAE7294E-F757-8316-E788-8E11FC3FC267}"/>
          </ac:spMkLst>
        </pc:spChg>
        <pc:spChg chg="add del mod">
          <ac:chgData name="Jobst, Hanna" userId="e86661fe-1388-4b75-a8f7-53b9f30bf181" providerId="ADAL" clId="{9EBA97F5-AA3D-A24B-BFAD-BF478EA5639D}" dt="2024-02-08T13:50:43.931" v="5046" actId="478"/>
          <ac:spMkLst>
            <pc:docMk/>
            <pc:sldMk cId="529140509" sldId="397"/>
            <ac:spMk id="38" creationId="{972E701C-3127-FAC3-49D8-B294B496AAAD}"/>
          </ac:spMkLst>
        </pc:spChg>
        <pc:spChg chg="add mod">
          <ac:chgData name="Jobst, Hanna" userId="e86661fe-1388-4b75-a8f7-53b9f30bf181" providerId="ADAL" clId="{9EBA97F5-AA3D-A24B-BFAD-BF478EA5639D}" dt="2024-02-08T13:50:39.933" v="5045"/>
          <ac:spMkLst>
            <pc:docMk/>
            <pc:sldMk cId="529140509" sldId="397"/>
            <ac:spMk id="39" creationId="{522E3B18-031D-F9A0-0B1D-87FE29739599}"/>
          </ac:spMkLst>
        </pc:spChg>
        <pc:spChg chg="add mod">
          <ac:chgData name="Jobst, Hanna" userId="e86661fe-1388-4b75-a8f7-53b9f30bf181" providerId="ADAL" clId="{9EBA97F5-AA3D-A24B-BFAD-BF478EA5639D}" dt="2024-02-08T13:50:39.933" v="5045"/>
          <ac:spMkLst>
            <pc:docMk/>
            <pc:sldMk cId="529140509" sldId="397"/>
            <ac:spMk id="40" creationId="{4E2A3E52-8E9F-B735-E814-606D6907741F}"/>
          </ac:spMkLst>
        </pc:spChg>
        <pc:spChg chg="add mod">
          <ac:chgData name="Jobst, Hanna" userId="e86661fe-1388-4b75-a8f7-53b9f30bf181" providerId="ADAL" clId="{9EBA97F5-AA3D-A24B-BFAD-BF478EA5639D}" dt="2024-02-08T14:06:13.051" v="5587" actId="20577"/>
          <ac:spMkLst>
            <pc:docMk/>
            <pc:sldMk cId="529140509" sldId="397"/>
            <ac:spMk id="41" creationId="{66959738-5A83-FCEF-E17A-3ACD77109848}"/>
          </ac:spMkLst>
        </pc:spChg>
        <pc:spChg chg="add mod">
          <ac:chgData name="Jobst, Hanna" userId="e86661fe-1388-4b75-a8f7-53b9f30bf181" providerId="ADAL" clId="{9EBA97F5-AA3D-A24B-BFAD-BF478EA5639D}" dt="2024-02-08T13:50:39.933" v="5045"/>
          <ac:spMkLst>
            <pc:docMk/>
            <pc:sldMk cId="529140509" sldId="397"/>
            <ac:spMk id="42" creationId="{C1CF3416-A89C-51BB-61D6-8ECBD61E8642}"/>
          </ac:spMkLst>
        </pc:spChg>
        <pc:spChg chg="add mod">
          <ac:chgData name="Jobst, Hanna" userId="e86661fe-1388-4b75-a8f7-53b9f30bf181" providerId="ADAL" clId="{9EBA97F5-AA3D-A24B-BFAD-BF478EA5639D}" dt="2024-02-08T13:51:52.297" v="5063"/>
          <ac:spMkLst>
            <pc:docMk/>
            <pc:sldMk cId="529140509" sldId="397"/>
            <ac:spMk id="43" creationId="{D2E63B2C-C2F2-48EB-EB9E-CF2F52A3D172}"/>
          </ac:spMkLst>
        </pc:spChg>
        <pc:spChg chg="add del mod modVis">
          <ac:chgData name="Jobst, Hanna" userId="e86661fe-1388-4b75-a8f7-53b9f30bf181" providerId="ADAL" clId="{9EBA97F5-AA3D-A24B-BFAD-BF478EA5639D}" dt="2024-02-08T14:18:43.358" v="5889"/>
          <ac:spMkLst>
            <pc:docMk/>
            <pc:sldMk cId="529140509" sldId="397"/>
            <ac:spMk id="44" creationId="{42F7F16E-5CCA-B60E-C498-4CC847F755A4}"/>
          </ac:spMkLst>
        </pc:spChg>
        <pc:graphicFrameChg chg="mod">
          <ac:chgData name="Jobst, Hanna" userId="e86661fe-1388-4b75-a8f7-53b9f30bf181" providerId="ADAL" clId="{9EBA97F5-AA3D-A24B-BFAD-BF478EA5639D}" dt="2024-02-08T14:18:43.362" v="5891"/>
          <ac:graphicFrameMkLst>
            <pc:docMk/>
            <pc:sldMk cId="529140509" sldId="397"/>
            <ac:graphicFrameMk id="11" creationId="{E62D4716-3519-7C7A-C48E-1C2BEFE77BFC}"/>
          </ac:graphicFrameMkLst>
        </pc:graphicFrameChg>
        <pc:picChg chg="del">
          <ac:chgData name="Jobst, Hanna" userId="e86661fe-1388-4b75-a8f7-53b9f30bf181" providerId="ADAL" clId="{9EBA97F5-AA3D-A24B-BFAD-BF478EA5639D}" dt="2024-02-08T09:17:25.652" v="2998" actId="478"/>
          <ac:picMkLst>
            <pc:docMk/>
            <pc:sldMk cId="529140509" sldId="397"/>
            <ac:picMk id="2" creationId="{B6A06F7F-5E84-C81F-A55B-67819F0A6060}"/>
          </ac:picMkLst>
        </pc:picChg>
        <pc:picChg chg="add mod">
          <ac:chgData name="Jobst, Hanna" userId="e86661fe-1388-4b75-a8f7-53b9f30bf181" providerId="ADAL" clId="{9EBA97F5-AA3D-A24B-BFAD-BF478EA5639D}" dt="2024-02-08T14:16:34.762" v="5794" actId="1076"/>
          <ac:picMkLst>
            <pc:docMk/>
            <pc:sldMk cId="529140509" sldId="397"/>
            <ac:picMk id="7" creationId="{F843BEF8-A43E-683B-A338-EAEA51AEE032}"/>
          </ac:picMkLst>
        </pc:picChg>
      </pc:sldChg>
      <pc:sldChg chg="addSp delSp modSp mod">
        <pc:chgData name="Jobst, Hanna" userId="e86661fe-1388-4b75-a8f7-53b9f30bf181" providerId="ADAL" clId="{9EBA97F5-AA3D-A24B-BFAD-BF478EA5639D}" dt="2024-02-08T14:22:04.253" v="6154" actId="478"/>
        <pc:sldMkLst>
          <pc:docMk/>
          <pc:sldMk cId="2232333642" sldId="398"/>
        </pc:sldMkLst>
        <pc:spChg chg="del">
          <ac:chgData name="Jobst, Hanna" userId="e86661fe-1388-4b75-a8f7-53b9f30bf181" providerId="ADAL" clId="{9EBA97F5-AA3D-A24B-BFAD-BF478EA5639D}" dt="2024-02-08T14:22:04.253" v="6154" actId="478"/>
          <ac:spMkLst>
            <pc:docMk/>
            <pc:sldMk cId="2232333642" sldId="398"/>
            <ac:spMk id="2" creationId="{5092903A-4B12-67CC-D129-92E5E78EFFE6}"/>
          </ac:spMkLst>
        </pc:spChg>
        <pc:spChg chg="add mod">
          <ac:chgData name="Jobst, Hanna" userId="e86661fe-1388-4b75-a8f7-53b9f30bf181" providerId="ADAL" clId="{9EBA97F5-AA3D-A24B-BFAD-BF478EA5639D}" dt="2024-02-08T14:22:01.859" v="6153"/>
          <ac:spMkLst>
            <pc:docMk/>
            <pc:sldMk cId="2232333642" sldId="398"/>
            <ac:spMk id="5" creationId="{F0769F83-7B26-863B-8529-02E626A8F889}"/>
          </ac:spMkLst>
        </pc:spChg>
      </pc:sldChg>
      <pc:sldChg chg="modNotesTx">
        <pc:chgData name="Jobst, Hanna" userId="e86661fe-1388-4b75-a8f7-53b9f30bf181" providerId="ADAL" clId="{9EBA97F5-AA3D-A24B-BFAD-BF478EA5639D}" dt="2024-02-08T14:59:33.715" v="6385" actId="5793"/>
        <pc:sldMkLst>
          <pc:docMk/>
          <pc:sldMk cId="3357619268" sldId="401"/>
        </pc:sldMkLst>
      </pc:sldChg>
      <pc:sldChg chg="addSp modSp add mod ord">
        <pc:chgData name="Jobst, Hanna" userId="e86661fe-1388-4b75-a8f7-53b9f30bf181" providerId="ADAL" clId="{9EBA97F5-AA3D-A24B-BFAD-BF478EA5639D}" dt="2024-02-08T14:21:09.133" v="6123"/>
        <pc:sldMkLst>
          <pc:docMk/>
          <pc:sldMk cId="3241651414" sldId="402"/>
        </pc:sldMkLst>
        <pc:spChg chg="mod">
          <ac:chgData name="Jobst, Hanna" userId="e86661fe-1388-4b75-a8f7-53b9f30bf181" providerId="ADAL" clId="{9EBA97F5-AA3D-A24B-BFAD-BF478EA5639D}" dt="2024-02-08T14:21:09.125" v="6119" actId="948"/>
          <ac:spMkLst>
            <pc:docMk/>
            <pc:sldMk cId="3241651414" sldId="402"/>
            <ac:spMk id="2" creationId="{CC6884B1-6B8B-FC9E-3ED9-0ECE6CBC24EA}"/>
          </ac:spMkLst>
        </pc:spChg>
        <pc:graphicFrameChg chg="add mod modVis replST">
          <ac:chgData name="Jobst, Hanna" userId="e86661fe-1388-4b75-a8f7-53b9f30bf181" providerId="ADAL" clId="{9EBA97F5-AA3D-A24B-BFAD-BF478EA5639D}" dt="2024-02-08T14:21:09.133" v="6123"/>
          <ac:graphicFrameMkLst>
            <pc:docMk/>
            <pc:sldMk cId="3241651414" sldId="402"/>
            <ac:graphicFrameMk id="6" creationId="{6AAA191B-ECA7-59C7-4EA8-6C8D5B549E59}"/>
          </ac:graphicFrameMkLst>
        </pc:graphicFrameChg>
      </pc:sldChg>
    </pc:docChg>
  </pc:docChgLst>
  <pc:docChgLst>
    <pc:chgData name="Fourati, Omar" userId="543b926d-baf3-4e4d-861e-19746c37446c" providerId="ADAL" clId="{9CC1A2E1-9335-45DF-9E1F-75D19ADAE4D8}"/>
    <pc:docChg chg="modSld">
      <pc:chgData name="Fourati, Omar" userId="543b926d-baf3-4e4d-861e-19746c37446c" providerId="ADAL" clId="{9CC1A2E1-9335-45DF-9E1F-75D19ADAE4D8}" dt="2024-01-16T17:26:54.691" v="4" actId="20577"/>
      <pc:docMkLst>
        <pc:docMk/>
      </pc:docMkLst>
      <pc:sldChg chg="modSp mod">
        <pc:chgData name="Fourati, Omar" userId="543b926d-baf3-4e4d-861e-19746c37446c" providerId="ADAL" clId="{9CC1A2E1-9335-45DF-9E1F-75D19ADAE4D8}" dt="2024-01-16T17:26:54.691" v="4" actId="20577"/>
        <pc:sldMkLst>
          <pc:docMk/>
          <pc:sldMk cId="796163679" sldId="364"/>
        </pc:sldMkLst>
        <pc:spChg chg="mod">
          <ac:chgData name="Fourati, Omar" userId="543b926d-baf3-4e4d-861e-19746c37446c" providerId="ADAL" clId="{9CC1A2E1-9335-45DF-9E1F-75D19ADAE4D8}" dt="2024-01-16T17:26:54.691" v="4" actId="20577"/>
          <ac:spMkLst>
            <pc:docMk/>
            <pc:sldMk cId="796163679" sldId="364"/>
            <ac:spMk id="7" creationId="{317A34B3-3BF5-AD35-75A3-75018CB51F9A}"/>
          </ac:spMkLst>
        </pc:spChg>
        <pc:picChg chg="mod">
          <ac:chgData name="Fourati, Omar" userId="543b926d-baf3-4e4d-861e-19746c37446c" providerId="ADAL" clId="{9CC1A2E1-9335-45DF-9E1F-75D19ADAE4D8}" dt="2024-01-16T17:25:49.010" v="3"/>
          <ac:picMkLst>
            <pc:docMk/>
            <pc:sldMk cId="796163679" sldId="364"/>
            <ac:picMk id="12" creationId="{9ADBB2B6-9A64-EA9B-C86E-10FE03868378}"/>
          </ac:picMkLst>
        </pc:picChg>
        <pc:picChg chg="mod">
          <ac:chgData name="Fourati, Omar" userId="543b926d-baf3-4e4d-861e-19746c37446c" providerId="ADAL" clId="{9CC1A2E1-9335-45DF-9E1F-75D19ADAE4D8}" dt="2024-01-16T17:23:54.840" v="2"/>
          <ac:picMkLst>
            <pc:docMk/>
            <pc:sldMk cId="796163679" sldId="364"/>
            <ac:picMk id="28" creationId="{0B7ACCDF-C2F0-27F1-9292-A97EB3D42266}"/>
          </ac:picMkLst>
        </pc:picChg>
        <pc:picChg chg="mod">
          <ac:chgData name="Fourati, Omar" userId="543b926d-baf3-4e4d-861e-19746c37446c" providerId="ADAL" clId="{9CC1A2E1-9335-45DF-9E1F-75D19ADAE4D8}" dt="2024-01-16T17:23:48.627" v="1"/>
          <ac:picMkLst>
            <pc:docMk/>
            <pc:sldMk cId="796163679" sldId="364"/>
            <ac:picMk id="29" creationId="{EEFD19F7-F9FB-C115-4E37-4DAEC7C96502}"/>
          </ac:picMkLst>
        </pc:picChg>
      </pc:sldChg>
    </pc:docChg>
  </pc:docChgLst>
  <pc:docChgLst>
    <pc:chgData name="Fourati, Omar" userId="S::oz48ohuv@fauad.fau.de::543b926d-baf3-4e4d-861e-19746c37446c" providerId="AD" clId="Web-{9B022B7F-C03A-4AF8-9BFE-6BE2F6A05F97}"/>
    <pc:docChg chg="modSld">
      <pc:chgData name="Fourati, Omar" userId="S::oz48ohuv@fauad.fau.de::543b926d-baf3-4e4d-861e-19746c37446c" providerId="AD" clId="Web-{9B022B7F-C03A-4AF8-9BFE-6BE2F6A05F97}" dt="2024-01-17T14:46:13.747" v="21" actId="20577"/>
      <pc:docMkLst>
        <pc:docMk/>
      </pc:docMkLst>
      <pc:sldChg chg="modSp">
        <pc:chgData name="Fourati, Omar" userId="S::oz48ohuv@fauad.fau.de::543b926d-baf3-4e4d-861e-19746c37446c" providerId="AD" clId="Web-{9B022B7F-C03A-4AF8-9BFE-6BE2F6A05F97}" dt="2024-01-17T14:46:13.747" v="21" actId="20577"/>
        <pc:sldMkLst>
          <pc:docMk/>
          <pc:sldMk cId="796163679" sldId="364"/>
        </pc:sldMkLst>
        <pc:spChg chg="mod">
          <ac:chgData name="Fourati, Omar" userId="S::oz48ohuv@fauad.fau.de::543b926d-baf3-4e4d-861e-19746c37446c" providerId="AD" clId="Web-{9B022B7F-C03A-4AF8-9BFE-6BE2F6A05F97}" dt="2024-01-17T14:46:13.747" v="21" actId="20577"/>
          <ac:spMkLst>
            <pc:docMk/>
            <pc:sldMk cId="796163679" sldId="364"/>
            <ac:spMk id="8" creationId="{62380C36-696B-0647-19FA-FD66F2256E68}"/>
          </ac:spMkLst>
        </pc:spChg>
      </pc:sldChg>
    </pc:docChg>
  </pc:docChgLst>
  <pc:docChgLst>
    <pc:chgData name="Fourati, Omar" userId="S::oz48ohuv@fauad.fau.de::543b926d-baf3-4e4d-861e-19746c37446c" providerId="AD" clId="Web-{379123D1-FC4E-4AF6-B2AF-CFFA1A45A575}"/>
    <pc:docChg chg="modSld">
      <pc:chgData name="Fourati, Omar" userId="S::oz48ohuv@fauad.fau.de::543b926d-baf3-4e4d-861e-19746c37446c" providerId="AD" clId="Web-{379123D1-FC4E-4AF6-B2AF-CFFA1A45A575}" dt="2024-02-09T07:27:01.435" v="12" actId="20577"/>
      <pc:docMkLst>
        <pc:docMk/>
      </pc:docMkLst>
      <pc:sldChg chg="modSp">
        <pc:chgData name="Fourati, Omar" userId="S::oz48ohuv@fauad.fau.de::543b926d-baf3-4e4d-861e-19746c37446c" providerId="AD" clId="Web-{379123D1-FC4E-4AF6-B2AF-CFFA1A45A575}" dt="2024-02-09T07:26:07.996" v="5" actId="20577"/>
        <pc:sldMkLst>
          <pc:docMk/>
          <pc:sldMk cId="3121911503" sldId="372"/>
        </pc:sldMkLst>
        <pc:spChg chg="mod">
          <ac:chgData name="Fourati, Omar" userId="S::oz48ohuv@fauad.fau.de::543b926d-baf3-4e4d-861e-19746c37446c" providerId="AD" clId="Web-{379123D1-FC4E-4AF6-B2AF-CFFA1A45A575}" dt="2024-02-09T07:26:07.996" v="5" actId="20577"/>
          <ac:spMkLst>
            <pc:docMk/>
            <pc:sldMk cId="3121911503" sldId="372"/>
            <ac:spMk id="22" creationId="{50035ADF-966D-4881-DDF2-8D70A8359CA4}"/>
          </ac:spMkLst>
        </pc:spChg>
      </pc:sldChg>
      <pc:sldChg chg="modSp">
        <pc:chgData name="Fourati, Omar" userId="S::oz48ohuv@fauad.fau.de::543b926d-baf3-4e4d-861e-19746c37446c" providerId="AD" clId="Web-{379123D1-FC4E-4AF6-B2AF-CFFA1A45A575}" dt="2024-02-09T07:27:01.435" v="12" actId="20577"/>
        <pc:sldMkLst>
          <pc:docMk/>
          <pc:sldMk cId="3184284025" sldId="385"/>
        </pc:sldMkLst>
        <pc:spChg chg="mod">
          <ac:chgData name="Fourati, Omar" userId="S::oz48ohuv@fauad.fau.de::543b926d-baf3-4e4d-861e-19746c37446c" providerId="AD" clId="Web-{379123D1-FC4E-4AF6-B2AF-CFFA1A45A575}" dt="2024-02-09T07:27:01.435" v="12" actId="20577"/>
          <ac:spMkLst>
            <pc:docMk/>
            <pc:sldMk cId="3184284025" sldId="385"/>
            <ac:spMk id="12" creationId="{63D0ACEB-2A0F-8ACB-15F9-FEEE111A3E0A}"/>
          </ac:spMkLst>
        </pc:spChg>
      </pc:sldChg>
      <pc:sldChg chg="modSp">
        <pc:chgData name="Fourati, Omar" userId="S::oz48ohuv@fauad.fau.de::543b926d-baf3-4e4d-861e-19746c37446c" providerId="AD" clId="Web-{379123D1-FC4E-4AF6-B2AF-CFFA1A45A575}" dt="2024-02-09T07:26:58.091" v="10" actId="20577"/>
        <pc:sldMkLst>
          <pc:docMk/>
          <pc:sldMk cId="3321945845" sldId="386"/>
        </pc:sldMkLst>
        <pc:spChg chg="mod">
          <ac:chgData name="Fourati, Omar" userId="S::oz48ohuv@fauad.fau.de::543b926d-baf3-4e4d-861e-19746c37446c" providerId="AD" clId="Web-{379123D1-FC4E-4AF6-B2AF-CFFA1A45A575}" dt="2024-02-09T07:26:58.091" v="10" actId="20577"/>
          <ac:spMkLst>
            <pc:docMk/>
            <pc:sldMk cId="3321945845" sldId="386"/>
            <ac:spMk id="12" creationId="{33D45416-6147-EF55-945B-12340AD90F06}"/>
          </ac:spMkLst>
        </pc:spChg>
      </pc:sldChg>
      <pc:sldChg chg="modSp">
        <pc:chgData name="Fourati, Omar" userId="S::oz48ohuv@fauad.fau.de::543b926d-baf3-4e4d-861e-19746c37446c" providerId="AD" clId="Web-{379123D1-FC4E-4AF6-B2AF-CFFA1A45A575}" dt="2024-02-09T07:26:54.841" v="9" actId="20577"/>
        <pc:sldMkLst>
          <pc:docMk/>
          <pc:sldMk cId="246774282" sldId="387"/>
        </pc:sldMkLst>
        <pc:spChg chg="mod">
          <ac:chgData name="Fourati, Omar" userId="S::oz48ohuv@fauad.fau.de::543b926d-baf3-4e4d-861e-19746c37446c" providerId="AD" clId="Web-{379123D1-FC4E-4AF6-B2AF-CFFA1A45A575}" dt="2024-02-09T07:26:54.841" v="9" actId="20577"/>
          <ac:spMkLst>
            <pc:docMk/>
            <pc:sldMk cId="246774282" sldId="387"/>
            <ac:spMk id="12" creationId="{3466FA6E-BB81-3245-4EA4-F5A49CA8A996}"/>
          </ac:spMkLst>
        </pc:spChg>
      </pc:sldChg>
      <pc:sldChg chg="modSp">
        <pc:chgData name="Fourati, Omar" userId="S::oz48ohuv@fauad.fau.de::543b926d-baf3-4e4d-861e-19746c37446c" providerId="AD" clId="Web-{379123D1-FC4E-4AF6-B2AF-CFFA1A45A575}" dt="2024-02-09T07:26:51.653" v="7" actId="20577"/>
        <pc:sldMkLst>
          <pc:docMk/>
          <pc:sldMk cId="46430825" sldId="388"/>
        </pc:sldMkLst>
        <pc:spChg chg="mod">
          <ac:chgData name="Fourati, Omar" userId="S::oz48ohuv@fauad.fau.de::543b926d-baf3-4e4d-861e-19746c37446c" providerId="AD" clId="Web-{379123D1-FC4E-4AF6-B2AF-CFFA1A45A575}" dt="2024-02-09T07:26:51.653" v="7" actId="20577"/>
          <ac:spMkLst>
            <pc:docMk/>
            <pc:sldMk cId="46430825" sldId="388"/>
            <ac:spMk id="12" creationId="{0FB580C5-384D-CD47-A221-70E54157CDD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09.02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09.0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2FD62-10BC-580B-7BE3-765974456C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B4E389F-DFE2-8B66-E99D-36784EAED9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30DAD6B-E832-1CB9-3714-550AD46E3E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de-DE"/>
              <a:t>More and </a:t>
            </a:r>
            <a:r>
              <a:rPr lang="de-DE" err="1"/>
              <a:t>more</a:t>
            </a:r>
            <a:r>
              <a:rPr lang="de-DE"/>
              <a:t> </a:t>
            </a:r>
            <a:r>
              <a:rPr lang="de-DE" err="1"/>
              <a:t>financement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metaverse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meta</a:t>
            </a:r>
            <a:r>
              <a:rPr lang="de-DE"/>
              <a:t> </a:t>
            </a:r>
            <a:r>
              <a:rPr lang="de-DE" err="1"/>
              <a:t>biggest</a:t>
            </a:r>
            <a:r>
              <a:rPr lang="de-DE"/>
              <a:t> </a:t>
            </a:r>
            <a:r>
              <a:rPr lang="de-DE" err="1"/>
              <a:t>one</a:t>
            </a:r>
            <a:endParaRPr lang="de-DE"/>
          </a:p>
          <a:p>
            <a:pPr marL="228600" indent="-228600">
              <a:buFont typeface="+mj-lt"/>
              <a:buAutoNum type="arabicPeriod"/>
            </a:pPr>
            <a:r>
              <a:rPr lang="de-DE" err="1"/>
              <a:t>Subject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comes</a:t>
            </a:r>
            <a:r>
              <a:rPr lang="de-DE"/>
              <a:t> </a:t>
            </a:r>
            <a:r>
              <a:rPr lang="de-DE" err="1"/>
              <a:t>more</a:t>
            </a:r>
            <a:r>
              <a:rPr lang="de-DE"/>
              <a:t> and </a:t>
            </a:r>
            <a:r>
              <a:rPr lang="de-DE" err="1"/>
              <a:t>more</a:t>
            </a:r>
            <a:r>
              <a:rPr lang="de-DE"/>
              <a:t> ( ex Club </a:t>
            </a:r>
            <a:r>
              <a:rPr lang="de-DE" err="1"/>
              <a:t>seminar</a:t>
            </a:r>
            <a:r>
              <a:rPr lang="de-DE"/>
              <a:t> </a:t>
            </a:r>
            <a:r>
              <a:rPr lang="de-DE" err="1"/>
              <a:t>solution</a:t>
            </a:r>
            <a:r>
              <a:rPr lang="de-DE"/>
              <a:t> </a:t>
            </a:r>
            <a:r>
              <a:rPr lang="de-DE" err="1"/>
              <a:t>proposal</a:t>
            </a:r>
            <a:r>
              <a:rPr lang="de-DE"/>
              <a:t> …)</a:t>
            </a:r>
          </a:p>
          <a:p>
            <a:pPr marL="228600" indent="-228600">
              <a:buFont typeface="+mj-lt"/>
              <a:buAutoNum type="arabicPeriod"/>
            </a:pPr>
            <a:r>
              <a:rPr lang="de-DE"/>
              <a:t>Innovation in so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ools</a:t>
            </a:r>
            <a:r>
              <a:rPr lang="de-DE"/>
              <a:t> and </a:t>
            </a:r>
            <a:r>
              <a:rPr lang="de-DE" err="1"/>
              <a:t>companies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ry</a:t>
            </a:r>
            <a:r>
              <a:rPr lang="de-DE"/>
              <a:t>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things</a:t>
            </a:r>
            <a:r>
              <a:rPr lang="de-DE"/>
              <a:t> and </a:t>
            </a:r>
            <a:r>
              <a:rPr lang="de-DE" err="1"/>
              <a:t>go</a:t>
            </a:r>
            <a:r>
              <a:rPr lang="de-DE"/>
              <a:t> </a:t>
            </a:r>
            <a:r>
              <a:rPr lang="de-DE" err="1"/>
              <a:t>beyond</a:t>
            </a:r>
            <a:r>
              <a:rPr lang="de-DE"/>
              <a:t> </a:t>
            </a:r>
            <a:r>
              <a:rPr lang="de-DE" err="1"/>
              <a:t>limitation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experiences</a:t>
            </a:r>
            <a:r>
              <a:rPr lang="de-DE"/>
              <a:t>…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A67520-1AF5-9D3C-3C7A-29FC5D0C27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13461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A55BBA-1E13-B909-A258-46B9EFEC57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10EA264-2881-4BF4-0188-126D0F0046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9AC36DD-D860-8F7F-92EA-13346AF0FC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69C0FC-D225-D534-11C8-4E092E5C38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81799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36A689-47DA-18C6-6807-0B8EEF9677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35467AD-3EC9-666C-4D10-904EF23A94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B65D649-76B8-0E69-6A08-FAB3C3188E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A2DF716-DF9F-EFBA-7012-411C40453C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4894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A9DF89-7A34-CE23-1BCE-2DE547A092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9308823-A811-4F68-94B1-511410D2CE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EA9B82B-47CC-2F2D-C679-5F25BDCC31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C0A553-3A16-675A-6254-3CC9A0BAD5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640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E2DEFE-A361-DC15-3B75-E60D73B2A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289F8FD-44D1-F56D-ADDA-FD38ACCC9B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DA4AC55-E34B-2B19-A92B-4066B890F5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6077C3-9418-6977-850F-95079794A6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31985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9A5D32-FDC1-B845-CCF4-3F9F654E04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867EAED-34F6-CE6C-E0AD-7634905473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554042F-CFD0-10EF-0011-0F6989EC4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A24984-3A92-4A5F-E2C6-7AE62FA3B5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09913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DCDDF-8667-D362-8A03-E6D59399B3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53C8810-5015-4619-BF12-F4BE8C9A82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CDA4D26-2D2D-8D9C-6AE0-CBD4459F32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5933A3-F8E0-B237-4868-9173160C37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84427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DE63F3-5C4B-838F-5428-6432B5474D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FAC4791-480A-29DC-4B7A-7766CA7CFB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D38999B-E00E-B335-9C84-6FCFCDCC8D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02E4B55-F219-1CB7-C43A-19724179A3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3341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ABB937-9837-EE33-8B0D-ACB51247AC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5A4A1BE-A525-F71C-FD12-37578954C0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D580BC4-4B60-C932-44D9-791ED47889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F23981-747E-83F1-EA10-04D9248CCD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96759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683ED-C277-4235-E06E-8EBEEB6B93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E443F57-F59F-462F-5E5A-A856EB612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D9D1427-8C71-4F4E-ABEF-641A5B5DF8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31BF25-7B3E-4F2F-1014-03B925903B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99851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95F2E-2BFE-C183-782F-22E2926846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26AA7E0-52D9-6E65-2A80-010FBD9E94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4D24E6F-BAF4-C723-CB28-36D2E165F4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800">
                <a:effectLst/>
                <a:latin typeface="Times New Roman" panose="02020603050405020304" pitchFamily="18" charset="0"/>
              </a:rPr>
              <a:t>Gioia, D. A., Corley, K. G. &amp; Hamilton, A. L. (2012). Seeking qualitative rigor in inductive research. </a:t>
            </a:r>
            <a:r>
              <a:rPr lang="en-US" sz="1800" i="1">
                <a:effectLst/>
                <a:latin typeface="Times New Roman" panose="02020603050405020304" pitchFamily="18" charset="0"/>
              </a:rPr>
              <a:t>Organizational Research Methods</a:t>
            </a:r>
            <a:r>
              <a:rPr lang="en-US" sz="1800">
                <a:effectLst/>
                <a:latin typeface="Times New Roman" panose="02020603050405020304" pitchFamily="18" charset="0"/>
              </a:rPr>
              <a:t>, </a:t>
            </a:r>
            <a:r>
              <a:rPr lang="en-US" sz="1800" i="1">
                <a:effectLst/>
                <a:latin typeface="Times New Roman" panose="02020603050405020304" pitchFamily="18" charset="0"/>
              </a:rPr>
              <a:t>16</a:t>
            </a:r>
            <a:r>
              <a:rPr lang="en-US" sz="1800">
                <a:effectLst/>
                <a:latin typeface="Times New Roman" panose="02020603050405020304" pitchFamily="18" charset="0"/>
              </a:rPr>
              <a:t>(1), 15–31. https://doi.org/10.1177/1094428112452151</a:t>
            </a:r>
          </a:p>
          <a:p>
            <a:pPr marL="0" indent="0">
              <a:buFont typeface="+mj-lt"/>
              <a:buNone/>
            </a:pPr>
            <a:endParaRPr lang="en-US" b="1" i="0">
              <a:effectLst/>
              <a:latin typeface="Söhne"/>
            </a:endParaRPr>
          </a:p>
          <a:p>
            <a:pPr marL="0" indent="0">
              <a:buFont typeface="+mj-lt"/>
              <a:buNone/>
            </a:pPr>
            <a:r>
              <a:rPr lang="en-US" b="1" i="0">
                <a:effectLst/>
                <a:latin typeface="Söhne"/>
                <a:sym typeface="Wingdings" panose="05000000000000000000" pitchFamily="2" charset="2"/>
              </a:rPr>
              <a:t>Methodology adapted from this paper </a:t>
            </a:r>
            <a:endParaRPr lang="en-US" b="1" i="0">
              <a:effectLst/>
              <a:latin typeface="Söhne"/>
            </a:endParaRPr>
          </a:p>
          <a:p>
            <a:pPr marL="228600" indent="-228600">
              <a:buFont typeface="+mj-lt"/>
              <a:buAutoNum type="arabicPeriod"/>
            </a:pPr>
            <a:endParaRPr lang="en-US" b="1" i="0">
              <a:effectLst/>
              <a:latin typeface="Söhne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Literature Review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Conduct a thorough review of existing literature to understand the current state of knowledge in the field. Identify gaps or areas where expert insights are crucial.</a:t>
            </a:r>
            <a:endParaRPr lang="en-US" b="1" i="0">
              <a:effectLst/>
              <a:latin typeface="Söhne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Define Clear Objectives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Clearly articulate the specific research objectives or questions that the expert interview aims to address. This might involve seeking clarification on a complex scientific concept</a:t>
            </a:r>
            <a:endParaRPr lang="de-DE"/>
          </a:p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Develop Detailed Questions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Craft questions that go beyond generalities, addressing specific scientific concepts, methodologies, and recent developments. Ensure that questions are clear, concise, and encourage in-depth responses.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341BDA-D97E-8438-CA04-66CB6BE9B2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91790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F1587F-ADDB-6543-9F68-B237A57132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BF0E53C-84C3-37FA-C4D0-DFC8E50CE3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BA671A4-FFC8-0526-E937-D84F7B47E5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1004A2-3CF1-2545-1ED5-830BBF7583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04734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CF111F-57B6-F68E-986D-87EEA97E3C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2A3FCD9-0393-C9D2-6355-5A384F6444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52BC6D1-07B6-7FCE-E95E-7ACB95B872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Identify Expertise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Choose experts based on their proven track record, publications, and experience in the relevant scientific domain.</a:t>
            </a:r>
            <a:endParaRPr lang="en-US" b="1" i="0">
              <a:effectLst/>
              <a:latin typeface="Söhne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Pre-Interview Communication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Reach out to the selected experts, providing a detailed overview of the interview's purpose, its importance to your research, and any specific topics or questions you plan to cover.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05D523-F3E0-A736-A4A3-CEB63D692E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5242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2B6B4-7A88-CCA0-71ED-F96A79FC38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9EB9321-9114-6317-9BF9-4B139605F6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9807107-215D-A180-AA23-D75C541645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Establish Rapport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Begin the interview by establishing a rapport with the expert. Clearly state the interview's purpose 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Structured Approach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Follow a logical and structured sequence of questions, allowing the interviewee to provide detailed insights. Balance open-ended and specific questions to cover a range of topics.</a:t>
            </a:r>
          </a:p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Record and Transcribe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With the expert's consent, record the interview. Transcribe the conversation. Mostly done automatically via survey. All relevant answers were later added to the survey and stored there.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3490C64-72CB-1114-8472-CCAAF5C463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28234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5E69D9-B982-DA4E-22BD-EF87F26E8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D86A2E5-293C-CAB3-1B90-112E637F76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124F95A-5D32-87CF-ED62-80FA8C83A5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Thematic Analysis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Systematically analyze/code the interview data, identifying recurring themes, patterns, or novel insights. Cluster/Structure the interview results</a:t>
            </a:r>
            <a:endParaRPr lang="en-US" b="1" i="0">
              <a:effectLst/>
              <a:latin typeface="Söhne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Integration with Literature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Compare the expert insights with existing literature/Use cases to validate or expand on current knowledge.</a:t>
            </a:r>
            <a:endParaRPr lang="en-US" b="1" i="0">
              <a:effectLst/>
              <a:latin typeface="Söhne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b="1" i="0">
                <a:effectLst/>
                <a:latin typeface="Söhne"/>
              </a:rPr>
              <a:t>Document Key Findings:</a:t>
            </a:r>
            <a:r>
              <a:rPr lang="en-US" b="0" i="0">
                <a:solidFill>
                  <a:srgbClr val="374151"/>
                </a:solidFill>
                <a:effectLst/>
                <a:latin typeface="Söhne"/>
              </a:rPr>
              <a:t> Summarize key findings, highlighting any significant breakthroughs, areas of consensus or contention, and practical implications for your research. Document the combined result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9CC720-3235-2DBF-E714-D99A20C80A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050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653757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D31962-060B-DFEC-CF33-A85A769DBD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579975A-904C-A875-7B6D-170C8929B8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E543F5C-5AE9-2FD2-173D-687DDFD359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de-DE"/>
              <a:t>General </a:t>
            </a:r>
            <a:r>
              <a:rPr lang="de-DE" err="1"/>
              <a:t>Perception</a:t>
            </a:r>
            <a:r>
              <a:rPr lang="de-DE"/>
              <a:t> </a:t>
            </a:r>
            <a:r>
              <a:rPr lang="de-DE" err="1"/>
              <a:t>through</a:t>
            </a:r>
            <a:r>
              <a:rPr lang="de-DE"/>
              <a:t> all </a:t>
            </a:r>
            <a:r>
              <a:rPr lang="de-DE" err="1"/>
              <a:t>group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splitted</a:t>
            </a:r>
            <a:r>
              <a:rPr lang="de-DE"/>
              <a:t> </a:t>
            </a:r>
            <a:r>
              <a:rPr lang="de-DE" err="1"/>
              <a:t>into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groups</a:t>
            </a:r>
            <a:endParaRPr lang="de-DE"/>
          </a:p>
          <a:p>
            <a:pPr marL="685800" lvl="1" indent="-228600">
              <a:buFont typeface="+mj-lt"/>
              <a:buAutoNum type="arabicPeriod"/>
            </a:pPr>
            <a:r>
              <a:rPr lang="de-DE"/>
              <a:t>Positive </a:t>
            </a:r>
            <a:r>
              <a:rPr lang="de-DE" err="1"/>
              <a:t>perception</a:t>
            </a:r>
            <a:r>
              <a:rPr lang="de-DE"/>
              <a:t> (Bigger Group)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 err="1"/>
              <a:t>Sceptical</a:t>
            </a:r>
            <a:r>
              <a:rPr lang="de-DE"/>
              <a:t> </a:t>
            </a:r>
            <a:r>
              <a:rPr lang="de-DE" err="1"/>
              <a:t>perception</a:t>
            </a:r>
            <a:r>
              <a:rPr lang="de-DE"/>
              <a:t> (</a:t>
            </a:r>
            <a:r>
              <a:rPr lang="de-DE" err="1"/>
              <a:t>Mainly</a:t>
            </a:r>
            <a:r>
              <a:rPr lang="de-DE"/>
              <a:t> </a:t>
            </a:r>
            <a:r>
              <a:rPr lang="de-DE" err="1"/>
              <a:t>Lecturers</a:t>
            </a:r>
            <a:r>
              <a:rPr lang="de-DE"/>
              <a:t>)</a:t>
            </a:r>
          </a:p>
          <a:p>
            <a:pPr marL="228600" lvl="0" indent="-228600">
              <a:buFont typeface="+mj-lt"/>
              <a:buAutoNum type="arabicPeriod"/>
            </a:pPr>
            <a:r>
              <a:rPr lang="de-DE" err="1"/>
              <a:t>Expert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awar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fact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a </a:t>
            </a:r>
            <a:r>
              <a:rPr lang="de-DE" err="1"/>
              <a:t>lot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work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requir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clude</a:t>
            </a:r>
            <a:r>
              <a:rPr lang="de-DE"/>
              <a:t> </a:t>
            </a:r>
            <a:r>
              <a:rPr lang="de-DE" err="1"/>
              <a:t>metaverse</a:t>
            </a:r>
            <a:r>
              <a:rPr lang="de-DE"/>
              <a:t> </a:t>
            </a:r>
            <a:r>
              <a:rPr lang="de-DE" err="1"/>
              <a:t>solutions</a:t>
            </a:r>
            <a:r>
              <a:rPr lang="de-DE"/>
              <a:t> in </a:t>
            </a:r>
            <a:r>
              <a:rPr lang="de-DE" err="1"/>
              <a:t>higher</a:t>
            </a:r>
            <a:r>
              <a:rPr lang="de-DE"/>
              <a:t> </a:t>
            </a:r>
            <a:r>
              <a:rPr lang="de-DE" err="1"/>
              <a:t>education</a:t>
            </a:r>
            <a:endParaRPr lang="de-DE"/>
          </a:p>
          <a:p>
            <a:pPr marL="0" lvl="0" indent="0">
              <a:buFont typeface="+mj-lt"/>
              <a:buNone/>
            </a:pPr>
            <a:endParaRPr lang="de-DE"/>
          </a:p>
          <a:p>
            <a:pPr marL="0" lvl="0" indent="0">
              <a:buFont typeface="+mj-lt"/>
              <a:buNone/>
            </a:pPr>
            <a:r>
              <a:rPr lang="de-DE"/>
              <a:t>But All </a:t>
            </a:r>
            <a:r>
              <a:rPr lang="de-DE" err="1"/>
              <a:t>groups</a:t>
            </a:r>
            <a:r>
              <a:rPr lang="de-DE"/>
              <a:t> </a:t>
            </a:r>
            <a:r>
              <a:rPr lang="de-DE" err="1"/>
              <a:t>accept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Metaverse will bring a massiv </a:t>
            </a:r>
            <a:r>
              <a:rPr lang="de-DE" err="1"/>
              <a:t>change</a:t>
            </a:r>
            <a:r>
              <a:rPr lang="de-DE"/>
              <a:t> and </a:t>
            </a:r>
            <a:r>
              <a:rPr lang="de-DE" err="1"/>
              <a:t>probably</a:t>
            </a:r>
            <a:r>
              <a:rPr lang="de-DE"/>
              <a:t> „Break traditional </a:t>
            </a:r>
            <a:r>
              <a:rPr lang="de-DE" err="1"/>
              <a:t>boundaries</a:t>
            </a:r>
            <a:r>
              <a:rPr lang="de-DE"/>
              <a:t>“</a:t>
            </a:r>
          </a:p>
          <a:p>
            <a:pPr marL="685800" lvl="1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2A7BDC-DE72-590F-22A2-B7A4EECCC7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861586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FD7DE4-AE1D-C198-E1B0-E0124F1E75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4224674-7502-DE77-B2AD-436D9F07B2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07C10B6-EB9F-393E-BA6B-6BD3207166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de-DE"/>
              <a:t>Individualisation: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/>
              <a:t>Metaverse </a:t>
            </a:r>
            <a:r>
              <a:rPr lang="de-DE" err="1"/>
              <a:t>solution</a:t>
            </a:r>
            <a:r>
              <a:rPr lang="de-DE"/>
              <a:t> bring </a:t>
            </a:r>
            <a:r>
              <a:rPr lang="de-DE" err="1"/>
              <a:t>the</a:t>
            </a:r>
            <a:r>
              <a:rPr lang="de-DE"/>
              <a:t> potential to </a:t>
            </a:r>
            <a:r>
              <a:rPr lang="de-DE" err="1"/>
              <a:t>individualize</a:t>
            </a:r>
            <a:r>
              <a:rPr lang="de-DE"/>
              <a:t>/</a:t>
            </a:r>
            <a:r>
              <a:rPr lang="de-DE" err="1"/>
              <a:t>tailor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each</a:t>
            </a:r>
            <a:r>
              <a:rPr lang="de-DE"/>
              <a:t> </a:t>
            </a:r>
            <a:r>
              <a:rPr lang="de-DE" err="1"/>
              <a:t>user</a:t>
            </a:r>
            <a:r>
              <a:rPr lang="de-DE"/>
              <a:t> and </a:t>
            </a:r>
            <a:r>
              <a:rPr lang="de-DE" err="1"/>
              <a:t>thus</a:t>
            </a:r>
            <a:r>
              <a:rPr lang="de-DE"/>
              <a:t> </a:t>
            </a:r>
            <a:r>
              <a:rPr lang="de-DE" err="1"/>
              <a:t>improve</a:t>
            </a:r>
            <a:r>
              <a:rPr lang="de-DE"/>
              <a:t> </a:t>
            </a:r>
            <a:r>
              <a:rPr lang="de-DE" err="1"/>
              <a:t>their</a:t>
            </a:r>
            <a:r>
              <a:rPr lang="de-DE"/>
              <a:t> </a:t>
            </a:r>
            <a:r>
              <a:rPr lang="de-DE" err="1"/>
              <a:t>learning</a:t>
            </a:r>
            <a:r>
              <a:rPr lang="de-DE"/>
              <a:t> </a:t>
            </a:r>
            <a:r>
              <a:rPr lang="de-DE" err="1"/>
              <a:t>journey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even</a:t>
            </a:r>
            <a:r>
              <a:rPr lang="de-DE"/>
              <a:t> </a:t>
            </a:r>
            <a:r>
              <a:rPr lang="de-DE" err="1"/>
              <a:t>giv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user</a:t>
            </a:r>
            <a:r>
              <a:rPr lang="de-DE"/>
              <a:t> </a:t>
            </a:r>
            <a:r>
              <a:rPr lang="de-DE" err="1"/>
              <a:t>controll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ir</a:t>
            </a:r>
            <a:r>
              <a:rPr lang="de-DE"/>
              <a:t> own </a:t>
            </a:r>
            <a:r>
              <a:rPr lang="de-DE" err="1"/>
              <a:t>learning</a:t>
            </a:r>
            <a:r>
              <a:rPr lang="de-DE"/>
              <a:t> </a:t>
            </a:r>
            <a:r>
              <a:rPr lang="de-DE" err="1"/>
              <a:t>journey</a:t>
            </a:r>
            <a:endParaRPr lang="de-DE"/>
          </a:p>
          <a:p>
            <a:pPr marL="685800" lvl="1" indent="-228600">
              <a:buFont typeface="+mj-lt"/>
              <a:buAutoNum type="arabicPeriod"/>
            </a:pPr>
            <a:r>
              <a:rPr lang="de-DE"/>
              <a:t>Content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created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a </a:t>
            </a:r>
            <a:r>
              <a:rPr lang="de-DE" err="1"/>
              <a:t>wide</a:t>
            </a:r>
            <a:r>
              <a:rPr lang="de-DE"/>
              <a:t> </a:t>
            </a:r>
            <a:r>
              <a:rPr lang="de-DE" err="1"/>
              <a:t>spectrum</a:t>
            </a:r>
            <a:r>
              <a:rPr lang="de-DE"/>
              <a:t> but </a:t>
            </a:r>
            <a:r>
              <a:rPr lang="de-DE" err="1"/>
              <a:t>tailored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improved</a:t>
            </a:r>
            <a:r>
              <a:rPr lang="de-DE"/>
              <a:t> to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users</a:t>
            </a:r>
            <a:endParaRPr lang="de-DE"/>
          </a:p>
          <a:p>
            <a:pPr marL="685800" lvl="1" indent="-228600">
              <a:buFont typeface="+mj-lt"/>
              <a:buAutoNum type="arabicPeriod"/>
            </a:pPr>
            <a:r>
              <a:rPr lang="de-DE" err="1"/>
              <a:t>Controll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learning</a:t>
            </a:r>
            <a:r>
              <a:rPr lang="de-DE"/>
              <a:t> </a:t>
            </a:r>
            <a:r>
              <a:rPr lang="de-DE" err="1"/>
              <a:t>journey</a:t>
            </a:r>
            <a:r>
              <a:rPr lang="de-DE"/>
              <a:t> </a:t>
            </a:r>
            <a:r>
              <a:rPr lang="de-DE" err="1"/>
              <a:t>opportunity</a:t>
            </a:r>
            <a:endParaRPr lang="de-DE"/>
          </a:p>
          <a:p>
            <a:pPr marL="685800" lvl="1" indent="-228600">
              <a:buFont typeface="+mj-lt"/>
              <a:buAutoNum type="arabicPeriod"/>
            </a:pPr>
            <a:endParaRPr lang="de-DE"/>
          </a:p>
          <a:p>
            <a:pPr marL="228600" lvl="0" indent="-228600">
              <a:buFont typeface="+mj-lt"/>
              <a:buAutoNum type="arabicPeriod"/>
            </a:pPr>
            <a:r>
              <a:rPr lang="de-DE"/>
              <a:t>Immersive </a:t>
            </a:r>
            <a:r>
              <a:rPr lang="de-DE" err="1"/>
              <a:t>Gamified</a:t>
            </a:r>
            <a:r>
              <a:rPr lang="de-DE"/>
              <a:t> Experience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/>
              <a:t>New </a:t>
            </a:r>
            <a:r>
              <a:rPr lang="de-DE" err="1"/>
              <a:t>learning</a:t>
            </a:r>
            <a:r>
              <a:rPr lang="de-DE"/>
              <a:t> </a:t>
            </a:r>
            <a:r>
              <a:rPr lang="de-DE" err="1"/>
              <a:t>expierenced</a:t>
            </a:r>
            <a:r>
              <a:rPr lang="de-DE"/>
              <a:t> </a:t>
            </a:r>
            <a:r>
              <a:rPr lang="de-DE">
                <a:sym typeface="Wingdings" panose="05000000000000000000" pitchFamily="2" charset="2"/>
              </a:rPr>
              <a:t> </a:t>
            </a:r>
            <a:r>
              <a:rPr lang="de-DE" err="1">
                <a:sym typeface="Wingdings" panose="05000000000000000000" pitchFamily="2" charset="2"/>
              </a:rPr>
              <a:t>increased</a:t>
            </a:r>
            <a:r>
              <a:rPr lang="de-DE">
                <a:sym typeface="Wingdings" panose="05000000000000000000" pitchFamily="2" charset="2"/>
              </a:rPr>
              <a:t> to </a:t>
            </a:r>
            <a:r>
              <a:rPr lang="de-DE" err="1">
                <a:sym typeface="Wingdings" panose="05000000000000000000" pitchFamily="2" charset="2"/>
              </a:rPr>
              <a:t>mor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dimensions</a:t>
            </a:r>
            <a:endParaRPr lang="de-DE">
              <a:sym typeface="Wingdings" panose="05000000000000000000" pitchFamily="2" charset="2"/>
            </a:endParaRPr>
          </a:p>
          <a:p>
            <a:pPr marL="685800" lvl="1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Add </a:t>
            </a:r>
            <a:r>
              <a:rPr lang="de-DE" err="1">
                <a:sym typeface="Wingdings" panose="05000000000000000000" pitchFamily="2" charset="2"/>
              </a:rPr>
              <a:t>backstory</a:t>
            </a:r>
            <a:r>
              <a:rPr lang="de-DE">
                <a:sym typeface="Wingdings" panose="05000000000000000000" pitchFamily="2" charset="2"/>
              </a:rPr>
              <a:t> and </a:t>
            </a:r>
            <a:r>
              <a:rPr lang="de-DE" err="1">
                <a:sym typeface="Wingdings" panose="05000000000000000000" pitchFamily="2" charset="2"/>
              </a:rPr>
              <a:t>more</a:t>
            </a:r>
            <a:r>
              <a:rPr lang="de-DE">
                <a:sym typeface="Wingdings" panose="05000000000000000000" pitchFamily="2" charset="2"/>
              </a:rPr>
              <a:t> to </a:t>
            </a:r>
            <a:r>
              <a:rPr lang="de-DE" err="1">
                <a:sym typeface="Wingdings" panose="05000000000000000000" pitchFamily="2" charset="2"/>
              </a:rPr>
              <a:t>theoretical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knowledge</a:t>
            </a:r>
            <a:endParaRPr lang="de-DE">
              <a:sym typeface="Wingdings" panose="05000000000000000000" pitchFamily="2" charset="2"/>
            </a:endParaRPr>
          </a:p>
          <a:p>
            <a:pPr marL="685800" lvl="1" indent="-228600">
              <a:buFont typeface="+mj-lt"/>
              <a:buAutoNum type="arabicPeriod"/>
            </a:pPr>
            <a:r>
              <a:rPr lang="de-DE" err="1">
                <a:sym typeface="Wingdings" panose="05000000000000000000" pitchFamily="2" charset="2"/>
              </a:rPr>
              <a:t>Visualization</a:t>
            </a:r>
            <a:r>
              <a:rPr lang="de-DE">
                <a:sym typeface="Wingdings" panose="05000000000000000000" pitchFamily="2" charset="2"/>
              </a:rPr>
              <a:t> 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Higher </a:t>
            </a:r>
            <a:r>
              <a:rPr lang="de-DE" err="1">
                <a:sym typeface="Wingdings" panose="05000000000000000000" pitchFamily="2" charset="2"/>
              </a:rPr>
              <a:t>engagement</a:t>
            </a:r>
            <a:r>
              <a:rPr lang="de-DE">
                <a:sym typeface="Wingdings" panose="05000000000000000000" pitchFamily="2" charset="2"/>
              </a:rPr>
              <a:t> / </a:t>
            </a:r>
            <a:r>
              <a:rPr lang="de-DE" err="1">
                <a:sym typeface="Wingdings" panose="05000000000000000000" pitchFamily="2" charset="2"/>
              </a:rPr>
              <a:t>emotionalization</a:t>
            </a:r>
            <a:endParaRPr lang="de-DE">
              <a:sym typeface="Wingdings" panose="05000000000000000000" pitchFamily="2" charset="2"/>
            </a:endParaRPr>
          </a:p>
          <a:p>
            <a:pPr marL="685800" lvl="1" indent="-228600">
              <a:buFont typeface="+mj-lt"/>
              <a:buAutoNum type="arabicPeriod"/>
            </a:pPr>
            <a:endParaRPr lang="de-DE">
              <a:sym typeface="Wingdings" panose="05000000000000000000" pitchFamily="2" charset="2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USP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 err="1">
                <a:sym typeface="Wingdings" panose="05000000000000000000" pitchFamily="2" charset="2"/>
              </a:rPr>
              <a:t>Student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an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b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prepare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o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eve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hanging</a:t>
            </a:r>
            <a:r>
              <a:rPr lang="de-DE">
                <a:sym typeface="Wingdings" panose="05000000000000000000" pitchFamily="2" charset="2"/>
              </a:rPr>
              <a:t> digital </a:t>
            </a:r>
            <a:r>
              <a:rPr lang="de-DE" err="1">
                <a:sym typeface="Wingdings" panose="05000000000000000000" pitchFamily="2" charset="2"/>
              </a:rPr>
              <a:t>world</a:t>
            </a:r>
            <a:endParaRPr lang="de-DE">
              <a:sym typeface="Wingdings" panose="05000000000000000000" pitchFamily="2" charset="2"/>
            </a:endParaRPr>
          </a:p>
          <a:p>
            <a:pPr marL="685800" lvl="1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Special </a:t>
            </a:r>
            <a:r>
              <a:rPr lang="de-DE" err="1">
                <a:sym typeface="Wingdings" panose="05000000000000000000" pitchFamily="2" charset="2"/>
              </a:rPr>
              <a:t>offer</a:t>
            </a:r>
            <a:r>
              <a:rPr lang="de-DE">
                <a:sym typeface="Wingdings" panose="05000000000000000000" pitchFamily="2" charset="2"/>
              </a:rPr>
              <a:t> Marketing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 err="1">
                <a:sym typeface="Wingdings" panose="05000000000000000000" pitchFamily="2" charset="2"/>
              </a:rPr>
              <a:t>Pioneer</a:t>
            </a:r>
            <a:r>
              <a:rPr lang="de-DE">
                <a:sym typeface="Wingdings" panose="05000000000000000000" pitchFamily="2" charset="2"/>
              </a:rPr>
              <a:t>  Lead to </a:t>
            </a:r>
            <a:r>
              <a:rPr lang="de-DE" err="1">
                <a:sym typeface="Wingdings" panose="05000000000000000000" pitchFamily="2" charset="2"/>
              </a:rPr>
              <a:t>mor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ame</a:t>
            </a:r>
            <a:r>
              <a:rPr lang="de-DE">
                <a:sym typeface="Wingdings" panose="05000000000000000000" pitchFamily="2" charset="2"/>
              </a:rPr>
              <a:t> (More potential </a:t>
            </a:r>
            <a:r>
              <a:rPr lang="de-DE" err="1">
                <a:sym typeface="Wingdings" panose="05000000000000000000" pitchFamily="2" charset="2"/>
              </a:rPr>
              <a:t>funding</a:t>
            </a:r>
            <a:r>
              <a:rPr lang="de-DE">
                <a:sym typeface="Wingdings" panose="05000000000000000000" pitchFamily="2" charset="2"/>
              </a:rPr>
              <a:t>)</a:t>
            </a:r>
          </a:p>
          <a:p>
            <a:pPr marL="685800" lvl="1" indent="-228600">
              <a:buFont typeface="+mj-lt"/>
              <a:buAutoNum type="arabicPeriod"/>
            </a:pPr>
            <a:endParaRPr lang="de-DE">
              <a:sym typeface="Wingdings" panose="05000000000000000000" pitchFamily="2" charset="2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de-DE" err="1">
                <a:sym typeface="Wingdings" panose="05000000000000000000" pitchFamily="2" charset="2"/>
              </a:rPr>
              <a:t>Collaboration</a:t>
            </a:r>
            <a:r>
              <a:rPr lang="de-DE">
                <a:sym typeface="Wingdings" panose="05000000000000000000" pitchFamily="2" charset="2"/>
              </a:rPr>
              <a:t> &amp; Communication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Supportive/</a:t>
            </a:r>
            <a:r>
              <a:rPr lang="de-DE" err="1">
                <a:sym typeface="Wingdings" panose="05000000000000000000" pitchFamily="2" charset="2"/>
              </a:rPr>
              <a:t>complementary</a:t>
            </a:r>
            <a:r>
              <a:rPr lang="de-DE">
                <a:sym typeface="Wingdings" panose="05000000000000000000" pitchFamily="2" charset="2"/>
              </a:rPr>
              <a:t> Role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Most </a:t>
            </a:r>
            <a:r>
              <a:rPr lang="de-DE" err="1">
                <a:sym typeface="Wingdings" panose="05000000000000000000" pitchFamily="2" charset="2"/>
              </a:rPr>
              <a:t>importan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par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f</a:t>
            </a:r>
            <a:r>
              <a:rPr lang="de-DE">
                <a:sym typeface="Wingdings" panose="05000000000000000000" pitchFamily="2" charset="2"/>
              </a:rPr>
              <a:t> Metaverse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Focus on </a:t>
            </a:r>
            <a:r>
              <a:rPr lang="de-DE" err="1">
                <a:sym typeface="Wingdings" panose="05000000000000000000" pitchFamily="2" charset="2"/>
              </a:rPr>
              <a:t>improving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hos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aspects</a:t>
            </a:r>
            <a:endParaRPr lang="de-DE">
              <a:sym typeface="Wingdings" panose="05000000000000000000" pitchFamily="2" charset="2"/>
            </a:endParaRPr>
          </a:p>
          <a:p>
            <a:pPr marL="685800" lvl="1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AR </a:t>
            </a:r>
            <a:r>
              <a:rPr lang="de-DE" err="1">
                <a:sym typeface="Wingdings" panose="05000000000000000000" pitchFamily="2" charset="2"/>
              </a:rPr>
              <a:t>Collaboration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i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more</a:t>
            </a:r>
            <a:r>
              <a:rPr lang="de-DE">
                <a:sym typeface="Wingdings" panose="05000000000000000000" pitchFamily="2" charset="2"/>
              </a:rPr>
              <a:t> </a:t>
            </a:r>
          </a:p>
          <a:p>
            <a:pPr marL="685800" lvl="1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High </a:t>
            </a:r>
            <a:r>
              <a:rPr lang="de-DE" err="1">
                <a:sym typeface="Wingdings" panose="05000000000000000000" pitchFamily="2" charset="2"/>
              </a:rPr>
              <a:t>impac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f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metavers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solutions</a:t>
            </a:r>
            <a:r>
              <a:rPr lang="de-DE">
                <a:sym typeface="Wingdings" panose="05000000000000000000" pitchFamily="2" charset="2"/>
              </a:rPr>
              <a:t> on </a:t>
            </a:r>
            <a:r>
              <a:rPr lang="de-DE" err="1">
                <a:sym typeface="Wingdings" panose="05000000000000000000" pitchFamily="2" charset="2"/>
              </a:rPr>
              <a:t>thos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aspects</a:t>
            </a:r>
            <a:r>
              <a:rPr lang="de-DE">
                <a:sym typeface="Wingdings" panose="05000000000000000000" pitchFamily="2" charset="2"/>
              </a:rPr>
              <a:t> </a:t>
            </a:r>
          </a:p>
          <a:p>
            <a:pPr marL="1143000" lvl="2" indent="-228600">
              <a:buFont typeface="+mj-lt"/>
              <a:buAutoNum type="arabicPeriod"/>
            </a:pPr>
            <a:r>
              <a:rPr lang="de-DE">
                <a:sym typeface="Wingdings" panose="05000000000000000000" pitchFamily="2" charset="2"/>
              </a:rPr>
              <a:t>Best </a:t>
            </a:r>
            <a:r>
              <a:rPr lang="de-DE" err="1">
                <a:sym typeface="Wingdings" panose="05000000000000000000" pitchFamily="2" charset="2"/>
              </a:rPr>
              <a:t>way</a:t>
            </a:r>
            <a:r>
              <a:rPr lang="de-DE">
                <a:sym typeface="Wingdings" panose="05000000000000000000" pitchFamily="2" charset="2"/>
              </a:rPr>
              <a:t> to </a:t>
            </a:r>
            <a:r>
              <a:rPr lang="de-DE" err="1">
                <a:sym typeface="Wingdings" panose="05000000000000000000" pitchFamily="2" charset="2"/>
              </a:rPr>
              <a:t>improve</a:t>
            </a:r>
            <a:r>
              <a:rPr lang="de-DE">
                <a:sym typeface="Wingdings" panose="05000000000000000000" pitchFamily="2" charset="2"/>
              </a:rPr>
              <a:t> traditional </a:t>
            </a:r>
            <a:r>
              <a:rPr lang="de-DE" err="1">
                <a:sym typeface="Wingdings" panose="05000000000000000000" pitchFamily="2" charset="2"/>
              </a:rPr>
              <a:t>methods</a:t>
            </a:r>
            <a:endParaRPr lang="de-DE">
              <a:sym typeface="Wingdings" panose="05000000000000000000" pitchFamily="2" charset="2"/>
            </a:endParaRPr>
          </a:p>
          <a:p>
            <a:pPr marL="685800" lvl="1" indent="-228600">
              <a:buFont typeface="+mj-lt"/>
              <a:buAutoNum type="arabicPeriod"/>
            </a:pPr>
            <a:endParaRPr lang="de-DE"/>
          </a:p>
          <a:p>
            <a:pPr marL="457200" lvl="1" indent="0">
              <a:buFont typeface="+mj-lt"/>
              <a:buNone/>
            </a:pPr>
            <a:endParaRPr lang="de-DE"/>
          </a:p>
          <a:p>
            <a:pPr marL="0" lvl="0" indent="0">
              <a:buFont typeface="+mj-lt"/>
              <a:buNone/>
            </a:pPr>
            <a:endParaRPr lang="de-DE"/>
          </a:p>
          <a:p>
            <a:pPr marL="228600" lvl="0" indent="-228600">
              <a:buFont typeface="+mj-lt"/>
              <a:buAutoNum type="arabicPeriod"/>
            </a:pPr>
            <a:endParaRPr lang="de-DE"/>
          </a:p>
          <a:p>
            <a:pPr marL="685800" lvl="1" indent="-228600">
              <a:buFont typeface="+mj-lt"/>
              <a:buAutoNum type="arabicPeriod"/>
            </a:pPr>
            <a:endParaRPr lang="de-DE"/>
          </a:p>
          <a:p>
            <a:pPr marL="685800" lvl="1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949F63-55E0-7A42-7179-370D80AD31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9411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20567F-E743-3A37-4A64-2EF99B33BA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7BF3E8B-A327-60D6-4B5C-1E44FDCEE3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206C5B9-B47D-6C6D-AA59-94ED104F95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Management/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eration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200">
                <a:solidFill>
                  <a:prstClr val="black"/>
                </a:solidFill>
                <a:latin typeface="Arial"/>
              </a:rPr>
              <a:t>	Technical 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Barriers</a:t>
            </a:r>
            <a:endParaRPr lang="de-DE" sz="120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tanc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otivation 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Especially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Lecturer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need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 to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be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convinced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200">
                <a:solidFill>
                  <a:prstClr val="black"/>
                </a:solidFill>
                <a:latin typeface="Arial"/>
              </a:rPr>
              <a:t>	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Comprehensive</a:t>
            </a:r>
            <a:r>
              <a:rPr lang="de-DE" sz="1200">
                <a:solidFill>
                  <a:prstClr val="black"/>
                </a:solidFill>
                <a:latin typeface="Arial"/>
              </a:rPr>
              <a:t> Training/Support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20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Privacy/Compliance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20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hical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Psychological Impact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ents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nt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yisical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act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20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sources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200">
                <a:solidFill>
                  <a:prstClr val="black"/>
                </a:solidFill>
                <a:latin typeface="Arial"/>
              </a:rPr>
              <a:t>	Technical Setup</a:t>
            </a: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Time/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lang="de-DE" sz="1200" err="1">
                <a:solidFill>
                  <a:prstClr val="black"/>
                </a:solidFill>
                <a:latin typeface="Arial"/>
              </a:rPr>
              <a:t>sts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54C920-2AF2-1C9F-5B24-186DAEE722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257568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241221-32B9-14B0-404C-854FA76AFC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224BFDA-E4EE-2F36-BA80-E080FDEDCD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EA429CA-0592-954E-FCC6-ACC24C5B91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de-DE"/>
              <a:t>Interviews </a:t>
            </a:r>
            <a:r>
              <a:rPr lang="de-DE" err="1"/>
              <a:t>show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people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Metaverse Solutions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complementary</a:t>
            </a:r>
            <a:r>
              <a:rPr lang="de-DE"/>
              <a:t>/supportive </a:t>
            </a:r>
            <a:r>
              <a:rPr lang="de-DE" err="1"/>
              <a:t>thus</a:t>
            </a:r>
            <a:r>
              <a:rPr lang="de-DE"/>
              <a:t>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recommend</a:t>
            </a:r>
            <a:r>
              <a:rPr lang="de-DE"/>
              <a:t> to </a:t>
            </a:r>
            <a:r>
              <a:rPr lang="de-DE" err="1"/>
              <a:t>focus</a:t>
            </a:r>
            <a:r>
              <a:rPr lang="de-DE"/>
              <a:t> on </a:t>
            </a:r>
            <a:r>
              <a:rPr lang="de-DE" err="1"/>
              <a:t>those</a:t>
            </a:r>
            <a:r>
              <a:rPr lang="de-DE"/>
              <a:t> </a:t>
            </a:r>
            <a:r>
              <a:rPr lang="de-DE" err="1"/>
              <a:t>use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 in a </a:t>
            </a:r>
            <a:r>
              <a:rPr lang="de-DE" err="1"/>
              <a:t>complementary</a:t>
            </a:r>
            <a:r>
              <a:rPr lang="de-DE"/>
              <a:t> </a:t>
            </a:r>
            <a:r>
              <a:rPr lang="de-DE" err="1"/>
              <a:t>role</a:t>
            </a:r>
            <a:endParaRPr lang="de-DE"/>
          </a:p>
          <a:p>
            <a:pPr marL="0" indent="0">
              <a:buFont typeface="+mj-lt"/>
              <a:buNone/>
            </a:pPr>
            <a:r>
              <a:rPr lang="de-DE">
                <a:sym typeface="Wingdings" panose="05000000000000000000" pitchFamily="2" charset="2"/>
              </a:rPr>
              <a:t></a:t>
            </a:r>
            <a:r>
              <a:rPr lang="de-DE" err="1">
                <a:sym typeface="Wingdings" panose="05000000000000000000" pitchFamily="2" charset="2"/>
              </a:rPr>
              <a:t>Reason</a:t>
            </a:r>
            <a:r>
              <a:rPr lang="de-DE">
                <a:sym typeface="Wingdings" panose="05000000000000000000" pitchFamily="2" charset="2"/>
              </a:rPr>
              <a:t> :</a:t>
            </a:r>
            <a:br>
              <a:rPr lang="de-DE">
                <a:sym typeface="Wingdings" panose="05000000000000000000" pitchFamily="2" charset="2"/>
              </a:rPr>
            </a:br>
            <a:r>
              <a:rPr lang="de-DE">
                <a:sym typeface="Wingdings" panose="05000000000000000000" pitchFamily="2" charset="2"/>
              </a:rPr>
              <a:t>	</a:t>
            </a:r>
            <a:r>
              <a:rPr lang="de-DE" err="1">
                <a:sym typeface="Wingdings" panose="05000000000000000000" pitchFamily="2" charset="2"/>
              </a:rPr>
              <a:t>Collaboration</a:t>
            </a:r>
            <a:r>
              <a:rPr lang="de-DE">
                <a:sym typeface="Wingdings" panose="05000000000000000000" pitchFamily="2" charset="2"/>
              </a:rPr>
              <a:t>/Communication </a:t>
            </a:r>
            <a:r>
              <a:rPr lang="de-DE" err="1">
                <a:sym typeface="Wingdings" panose="05000000000000000000" pitchFamily="2" charset="2"/>
              </a:rPr>
              <a:t>focuse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with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good</a:t>
            </a:r>
            <a:r>
              <a:rPr lang="de-DE">
                <a:sym typeface="Wingdings" panose="05000000000000000000" pitchFamily="2" charset="2"/>
              </a:rPr>
              <a:t> potential to </a:t>
            </a:r>
            <a:r>
              <a:rPr lang="de-DE" err="1">
                <a:sym typeface="Wingdings" panose="05000000000000000000" pitchFamily="2" charset="2"/>
              </a:rPr>
              <a:t>create</a:t>
            </a:r>
            <a:r>
              <a:rPr lang="de-DE">
                <a:sym typeface="Wingdings" panose="05000000000000000000" pitchFamily="2" charset="2"/>
              </a:rPr>
              <a:t> immersive/</a:t>
            </a:r>
            <a:r>
              <a:rPr lang="de-DE" err="1">
                <a:sym typeface="Wingdings" panose="05000000000000000000" pitchFamily="2" charset="2"/>
              </a:rPr>
              <a:t>gameified</a:t>
            </a:r>
            <a:r>
              <a:rPr lang="de-DE">
                <a:sym typeface="Wingdings" panose="05000000000000000000" pitchFamily="2" charset="2"/>
              </a:rPr>
              <a:t> setting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88B9-2B0F-AA46-8E17-AF7BED9C43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393209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F19E5E-BAD7-2433-B79E-5460B6D0E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7C0693D-B711-32C0-37C4-00036CB43F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6A14743-3889-8E50-0A65-3D21BEF494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9DF02C-5A55-18B3-9652-736CA2319F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552456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ample Size:</a:t>
            </a:r>
          </a:p>
          <a:p>
            <a:r>
              <a:rPr lang="de-DE"/>
              <a:t>22 Interviews </a:t>
            </a:r>
            <a:r>
              <a:rPr lang="de-DE">
                <a:sym typeface="Wingdings" panose="05000000000000000000" pitchFamily="2" charset="2"/>
              </a:rPr>
              <a:t> 8 </a:t>
            </a:r>
            <a:r>
              <a:rPr lang="de-DE" err="1">
                <a:sym typeface="Wingdings" panose="05000000000000000000" pitchFamily="2" charset="2"/>
              </a:rPr>
              <a:t>Students</a:t>
            </a:r>
            <a:r>
              <a:rPr lang="de-DE">
                <a:sym typeface="Wingdings" panose="05000000000000000000" pitchFamily="2" charset="2"/>
              </a:rPr>
              <a:t>, 8 </a:t>
            </a:r>
            <a:r>
              <a:rPr lang="de-DE" err="1">
                <a:sym typeface="Wingdings" panose="05000000000000000000" pitchFamily="2" charset="2"/>
              </a:rPr>
              <a:t>Lecturers</a:t>
            </a:r>
            <a:r>
              <a:rPr lang="de-DE">
                <a:sym typeface="Wingdings" panose="05000000000000000000" pitchFamily="2" charset="2"/>
              </a:rPr>
              <a:t>, 6 </a:t>
            </a:r>
            <a:r>
              <a:rPr lang="de-DE" err="1">
                <a:sym typeface="Wingdings" panose="05000000000000000000" pitchFamily="2" charset="2"/>
              </a:rPr>
              <a:t>Practitioners</a:t>
            </a:r>
            <a:endParaRPr lang="de-DE"/>
          </a:p>
          <a:p>
            <a:endParaRPr lang="de-DE"/>
          </a:p>
          <a:p>
            <a:r>
              <a:rPr lang="de-DE"/>
              <a:t>Communication Challenges</a:t>
            </a:r>
          </a:p>
          <a:p>
            <a:r>
              <a:rPr lang="de-DE"/>
              <a:t>-Interpretation </a:t>
            </a:r>
            <a:r>
              <a:rPr lang="de-DE" err="1"/>
              <a:t>of</a:t>
            </a:r>
            <a:r>
              <a:rPr lang="de-DE"/>
              <a:t> Questions</a:t>
            </a:r>
          </a:p>
          <a:p>
            <a:r>
              <a:rPr lang="de-DE"/>
              <a:t>-Interpretation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Answers</a:t>
            </a:r>
            <a:endParaRPr lang="de-DE"/>
          </a:p>
          <a:p>
            <a:endParaRPr lang="de-DE"/>
          </a:p>
          <a:p>
            <a:r>
              <a:rPr lang="de-DE"/>
              <a:t>Study Design:</a:t>
            </a:r>
          </a:p>
          <a:p>
            <a:r>
              <a:rPr lang="de-DE"/>
              <a:t>-Structured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answer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framed</a:t>
            </a:r>
            <a:r>
              <a:rPr lang="de-DE"/>
              <a:t> </a:t>
            </a:r>
            <a:r>
              <a:rPr lang="de-DE" err="1"/>
              <a:t>areas</a:t>
            </a:r>
            <a:r>
              <a:rPr lang="de-DE"/>
              <a:t> </a:t>
            </a:r>
          </a:p>
          <a:p>
            <a:r>
              <a:rPr lang="de-DE"/>
              <a:t>-Risk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unplanned</a:t>
            </a:r>
            <a:r>
              <a:rPr lang="de-DE"/>
              <a:t> </a:t>
            </a:r>
            <a:r>
              <a:rPr lang="de-DE" err="1"/>
              <a:t>nudges</a:t>
            </a:r>
            <a:endParaRPr lang="de-DE"/>
          </a:p>
          <a:p>
            <a:endParaRPr lang="de-DE"/>
          </a:p>
          <a:p>
            <a:r>
              <a:rPr lang="de-DE" err="1"/>
              <a:t>Scope</a:t>
            </a:r>
            <a:r>
              <a:rPr lang="de-DE"/>
              <a:t>:</a:t>
            </a:r>
          </a:p>
          <a:p>
            <a:r>
              <a:rPr lang="de-DE" err="1"/>
              <a:t>Strict</a:t>
            </a:r>
            <a:r>
              <a:rPr lang="de-DE"/>
              <a:t> </a:t>
            </a:r>
            <a:r>
              <a:rPr lang="de-DE" err="1"/>
              <a:t>focuse</a:t>
            </a:r>
            <a:r>
              <a:rPr lang="de-DE"/>
              <a:t> on IS </a:t>
            </a:r>
            <a:r>
              <a:rPr lang="de-DE" err="1"/>
              <a:t>bachelor</a:t>
            </a:r>
            <a:r>
              <a:rPr lang="de-DE"/>
              <a:t> so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generabillity</a:t>
            </a:r>
            <a:r>
              <a:rPr lang="de-DE"/>
              <a:t> </a:t>
            </a:r>
            <a:r>
              <a:rPr lang="de-DE" err="1"/>
              <a:t>given</a:t>
            </a:r>
            <a:r>
              <a:rPr lang="de-DE"/>
              <a:t> </a:t>
            </a:r>
            <a:r>
              <a:rPr lang="de-DE" err="1"/>
              <a:t>since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specific</a:t>
            </a:r>
            <a:r>
              <a:rPr lang="de-DE"/>
              <a:t> </a:t>
            </a:r>
            <a:r>
              <a:rPr lang="de-DE" err="1"/>
              <a:t>experts</a:t>
            </a:r>
            <a:r>
              <a:rPr lang="de-DE"/>
              <a:t> </a:t>
            </a:r>
            <a:r>
              <a:rPr lang="de-DE" err="1"/>
              <a:t>were</a:t>
            </a:r>
            <a:r>
              <a:rPr lang="de-DE"/>
              <a:t> </a:t>
            </a:r>
            <a:r>
              <a:rPr lang="de-DE" err="1"/>
              <a:t>interviewed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3228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ructure</a:t>
            </a:r>
            <a:r>
              <a:rPr lang="de-DE"/>
              <a:t> </a:t>
            </a:r>
            <a:r>
              <a:rPr lang="de-DE" err="1"/>
              <a:t>existing</a:t>
            </a:r>
            <a:r>
              <a:rPr lang="de-DE"/>
              <a:t> </a:t>
            </a:r>
            <a:r>
              <a:rPr lang="de-DE" err="1"/>
              <a:t>knowledge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opic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research</a:t>
            </a:r>
            <a:r>
              <a:rPr lang="de-DE"/>
              <a:t> </a:t>
            </a:r>
            <a:r>
              <a:rPr lang="de-DE" err="1"/>
              <a:t>method</a:t>
            </a:r>
            <a:r>
              <a:rPr lang="de-DE"/>
              <a:t>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conducted</a:t>
            </a:r>
            <a:r>
              <a:rPr lang="de-DE"/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958686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1E7DC5-81B4-7EBC-B64F-C569A46099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5C1DBCA-A857-0C28-A859-461D1A5B93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2663AAD-0AAE-3317-AE87-274DC0C3CD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Limitations</a:t>
            </a:r>
            <a:r>
              <a:rPr lang="de-DE"/>
              <a:t> </a:t>
            </a:r>
            <a:r>
              <a:rPr lang="de-DE" err="1"/>
              <a:t>kinda</a:t>
            </a:r>
            <a:r>
              <a:rPr lang="de-DE"/>
              <a:t> also </a:t>
            </a:r>
            <a:r>
              <a:rPr lang="de-DE" err="1"/>
              <a:t>show</a:t>
            </a:r>
            <a:r>
              <a:rPr lang="de-DE"/>
              <a:t> </a:t>
            </a:r>
            <a:r>
              <a:rPr lang="de-DE" err="1"/>
              <a:t>our</a:t>
            </a:r>
            <a:r>
              <a:rPr lang="de-DE"/>
              <a:t> </a:t>
            </a:r>
            <a:r>
              <a:rPr lang="de-DE" err="1"/>
              <a:t>Learnings</a:t>
            </a:r>
            <a:r>
              <a:rPr lang="de-DE"/>
              <a:t>: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err="1">
                <a:sym typeface="Wingdings" panose="05000000000000000000" pitchFamily="2" charset="2"/>
              </a:rPr>
              <a:t>Selection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f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Expert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goo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ha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w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nly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ocused</a:t>
            </a:r>
            <a:r>
              <a:rPr lang="de-DE">
                <a:sym typeface="Wingdings" panose="05000000000000000000" pitchFamily="2" charset="2"/>
              </a:rPr>
              <a:t> on 3 </a:t>
            </a:r>
            <a:r>
              <a:rPr lang="de-DE" err="1">
                <a:sym typeface="Wingdings" panose="05000000000000000000" pitchFamily="2" charset="2"/>
              </a:rPr>
              <a:t>instea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f</a:t>
            </a:r>
            <a:r>
              <a:rPr lang="de-DE">
                <a:sym typeface="Wingdings" panose="05000000000000000000" pitchFamily="2" charset="2"/>
              </a:rPr>
              <a:t> 4+ </a:t>
            </a:r>
            <a:r>
              <a:rPr lang="de-DE" err="1">
                <a:sym typeface="Wingdings" panose="05000000000000000000" pitchFamily="2" charset="2"/>
              </a:rPr>
              <a:t>from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ur</a:t>
            </a:r>
            <a:r>
              <a:rPr lang="de-DE">
                <a:sym typeface="Wingdings" panose="05000000000000000000" pitchFamily="2" charset="2"/>
              </a:rPr>
              <a:t> plan in </a:t>
            </a:r>
            <a:r>
              <a:rPr lang="de-DE" err="1">
                <a:sym typeface="Wingdings" panose="05000000000000000000" pitchFamily="2" charset="2"/>
              </a:rPr>
              <a:t>th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beginning</a:t>
            </a: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>
              <a:sym typeface="Wingdings" panose="05000000000000000000" pitchFamily="2" charset="2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err="1">
                <a:sym typeface="Wingdings" panose="05000000000000000000" pitchFamily="2" charset="2"/>
              </a:rPr>
              <a:t>Studydesign</a:t>
            </a:r>
            <a:r>
              <a:rPr lang="de-DE">
                <a:sym typeface="Wingdings" panose="05000000000000000000" pitchFamily="2" charset="2"/>
              </a:rPr>
              <a:t>: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>
                <a:sym typeface="Wingdings" panose="05000000000000000000" pitchFamily="2" charset="2"/>
              </a:rPr>
              <a:t>Structured Interviews </a:t>
            </a:r>
            <a:r>
              <a:rPr lang="de-DE" err="1">
                <a:sym typeface="Wingdings" panose="05000000000000000000" pitchFamily="2" charset="2"/>
              </a:rPr>
              <a:t>are</a:t>
            </a:r>
            <a:r>
              <a:rPr lang="de-DE">
                <a:sym typeface="Wingdings" panose="05000000000000000000" pitchFamily="2" charset="2"/>
              </a:rPr>
              <a:t> easy </a:t>
            </a:r>
            <a:r>
              <a:rPr lang="de-DE" err="1">
                <a:sym typeface="Wingdings" panose="05000000000000000000" pitchFamily="2" charset="2"/>
              </a:rPr>
              <a:t>to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conduc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especially</a:t>
            </a:r>
            <a:r>
              <a:rPr lang="de-DE">
                <a:sym typeface="Wingdings" panose="05000000000000000000" pitchFamily="2" charset="2"/>
              </a:rPr>
              <a:t> in </a:t>
            </a:r>
            <a:r>
              <a:rPr lang="de-DE" err="1">
                <a:sym typeface="Wingdings" panose="05000000000000000000" pitchFamily="2" charset="2"/>
              </a:rPr>
              <a:t>survey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rom</a:t>
            </a:r>
            <a:r>
              <a:rPr lang="de-DE">
                <a:sym typeface="Wingdings" panose="05000000000000000000" pitchFamily="2" charset="2"/>
              </a:rPr>
              <a:t> like </a:t>
            </a:r>
            <a:r>
              <a:rPr lang="de-DE" err="1">
                <a:sym typeface="Wingdings" panose="05000000000000000000" pitchFamily="2" charset="2"/>
              </a:rPr>
              <a:t>mos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f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u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interview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were</a:t>
            </a:r>
            <a:endParaRPr lang="de-DE">
              <a:sym typeface="Wingdings" panose="05000000000000000000" pitchFamily="2" charset="2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>
                <a:sym typeface="Wingdings" panose="05000000000000000000" pitchFamily="2" charset="2"/>
              </a:rPr>
              <a:t>BUT limited frame -&gt; </a:t>
            </a:r>
            <a:r>
              <a:rPr lang="de-DE" err="1">
                <a:sym typeface="Wingdings" panose="05000000000000000000" pitchFamily="2" charset="2"/>
              </a:rPr>
              <a:t>missing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aspect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hat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woul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b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included</a:t>
            </a:r>
            <a:r>
              <a:rPr lang="de-DE">
                <a:sym typeface="Wingdings" panose="05000000000000000000" pitchFamily="2" charset="2"/>
              </a:rPr>
              <a:t> in </a:t>
            </a:r>
            <a:r>
              <a:rPr lang="de-DE" err="1">
                <a:sym typeface="Wingdings" panose="05000000000000000000" pitchFamily="2" charset="2"/>
              </a:rPr>
              <a:t>mor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re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version</a:t>
            </a: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>
                <a:sym typeface="Wingdings" panose="05000000000000000000" pitchFamily="2" charset="2"/>
              </a:rPr>
              <a:t>Question </a:t>
            </a:r>
            <a:r>
              <a:rPr lang="de-DE" err="1">
                <a:sym typeface="Wingdings" panose="05000000000000000000" pitchFamily="2" charset="2"/>
              </a:rPr>
              <a:t>Formulation</a:t>
            </a:r>
            <a:r>
              <a:rPr lang="de-DE">
                <a:sym typeface="Wingdings" panose="05000000000000000000" pitchFamily="2" charset="2"/>
              </a:rPr>
              <a:t>  Questions </a:t>
            </a:r>
            <a:r>
              <a:rPr lang="de-DE" err="1">
                <a:sym typeface="Wingdings" panose="05000000000000000000" pitchFamily="2" charset="2"/>
              </a:rPr>
              <a:t>wer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partly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o</a:t>
            </a:r>
            <a:r>
              <a:rPr lang="de-DE">
                <a:sym typeface="Wingdings" panose="05000000000000000000" pitchFamily="2" charset="2"/>
              </a:rPr>
              <a:t> open </a:t>
            </a:r>
            <a:r>
              <a:rPr lang="de-DE" err="1">
                <a:sym typeface="Wingdings" panose="05000000000000000000" pitchFamily="2" charset="2"/>
              </a:rPr>
              <a:t>or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hard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o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interpret</a:t>
            </a: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>
              <a:sym typeface="Wingdings" panose="05000000000000000000" pitchFamily="2" charset="2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>
                <a:sym typeface="Wingdings" panose="05000000000000000000" pitchFamily="2" charset="2"/>
              </a:rPr>
              <a:t>Triangulation: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>
                <a:sym typeface="Wingdings" panose="05000000000000000000" pitchFamily="2" charset="2"/>
              </a:rPr>
              <a:t>Hard </a:t>
            </a:r>
            <a:r>
              <a:rPr lang="de-DE" err="1">
                <a:sym typeface="Wingdings" panose="05000000000000000000" pitchFamily="2" charset="2"/>
              </a:rPr>
              <a:t>to</a:t>
            </a:r>
            <a:r>
              <a:rPr lang="de-DE">
                <a:sym typeface="Wingdings" panose="05000000000000000000" pitchFamily="2" charset="2"/>
              </a:rPr>
              <a:t> find </a:t>
            </a:r>
            <a:r>
              <a:rPr lang="de-DE" err="1">
                <a:sym typeface="Wingdings" panose="05000000000000000000" pitchFamily="2" charset="2"/>
              </a:rPr>
              <a:t>th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balanc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between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th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results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from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our</a:t>
            </a:r>
            <a:r>
              <a:rPr lang="de-DE">
                <a:sym typeface="Wingdings" panose="05000000000000000000" pitchFamily="2" charset="2"/>
              </a:rPr>
              <a:t> 3 Methods  + 3 </a:t>
            </a:r>
            <a:r>
              <a:rPr lang="de-DE" err="1">
                <a:sym typeface="Wingdings" panose="05000000000000000000" pitchFamily="2" charset="2"/>
              </a:rPr>
              <a:t>Interviewee</a:t>
            </a: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err="1">
                <a:sym typeface="Wingdings" panose="05000000000000000000" pitchFamily="2" charset="2"/>
              </a:rPr>
              <a:t>groups</a:t>
            </a:r>
            <a:endParaRPr lang="de-DE">
              <a:sym typeface="Wingdings" panose="05000000000000000000" pitchFamily="2" charset="2"/>
            </a:endParaRPr>
          </a:p>
          <a:p>
            <a:pPr marL="0" indent="0">
              <a:buFont typeface="Wingdings" panose="05000000000000000000" pitchFamily="2" charset="2"/>
              <a:buNone/>
            </a:pPr>
            <a:endParaRPr lang="de-DE">
              <a:sym typeface="Wingdings" panose="05000000000000000000" pitchFamily="2" charset="2"/>
            </a:endParaRPr>
          </a:p>
          <a:p>
            <a:pPr marL="0" indent="0">
              <a:buFont typeface="Wingdings" panose="05000000000000000000" pitchFamily="2" charset="2"/>
              <a:buNone/>
            </a:pPr>
            <a:endParaRPr lang="de-DE">
              <a:sym typeface="Wingdings" panose="05000000000000000000" pitchFamily="2" charset="2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>
                <a:sym typeface="Wingdings" panose="05000000000000000000" pitchFamily="2" charset="2"/>
              </a:rPr>
              <a:t>„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3D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metaverse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platforms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re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xpected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to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play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a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pivotal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role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in Information Systems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ducation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by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providing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immersive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learning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xperiences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and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facilitating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practical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skill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development</a:t>
            </a:r>
            <a:r>
              <a:rPr lang="de-DE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de-DE">
                <a:sym typeface="Wingdings" panose="05000000000000000000" pitchFamily="2" charset="2"/>
              </a:rPr>
              <a:t>“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997948-B9CC-5324-99D2-BC4148F4C4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743657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8908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de-DE"/>
              <a:t>3 </a:t>
            </a:r>
            <a:r>
              <a:rPr lang="de-DE" err="1"/>
              <a:t>parts</a:t>
            </a:r>
            <a:r>
              <a:rPr lang="de-DE"/>
              <a:t>: </a:t>
            </a:r>
          </a:p>
          <a:p>
            <a:pPr marL="0" indent="0">
              <a:buFont typeface="+mj-lt"/>
              <a:buNone/>
            </a:pPr>
            <a:r>
              <a:rPr lang="de-DE" err="1"/>
              <a:t>Planning</a:t>
            </a:r>
            <a:r>
              <a:rPr lang="de-DE"/>
              <a:t>, </a:t>
            </a:r>
            <a:r>
              <a:rPr lang="de-DE" err="1"/>
              <a:t>conducting</a:t>
            </a:r>
            <a:r>
              <a:rPr lang="de-DE"/>
              <a:t>, </a:t>
            </a:r>
            <a:r>
              <a:rPr lang="de-DE" err="1"/>
              <a:t>reporting</a:t>
            </a:r>
            <a:endParaRPr lang="de-DE"/>
          </a:p>
          <a:p>
            <a:pPr marL="0" indent="0">
              <a:buFont typeface="+mj-lt"/>
              <a:buNone/>
            </a:pPr>
            <a:r>
              <a:rPr lang="de-DE">
                <a:sym typeface="Wingdings" pitchFamily="2" charset="2"/>
              </a:rPr>
              <a:t> Setting </a:t>
            </a:r>
            <a:r>
              <a:rPr lang="de-DE" err="1">
                <a:sym typeface="Wingdings" pitchFamily="2" charset="2"/>
              </a:rPr>
              <a:t>search</a:t>
            </a:r>
            <a:r>
              <a:rPr lang="de-DE">
                <a:sym typeface="Wingdings" pitchFamily="2" charset="2"/>
              </a:rPr>
              <a:t> </a:t>
            </a:r>
            <a:r>
              <a:rPr lang="de-DE" err="1">
                <a:sym typeface="Wingdings" pitchFamily="2" charset="2"/>
              </a:rPr>
              <a:t>terms</a:t>
            </a:r>
            <a:r>
              <a:rPr lang="de-DE">
                <a:sym typeface="Wingdings" pitchFamily="2" charset="2"/>
              </a:rPr>
              <a:t>, </a:t>
            </a:r>
            <a:r>
              <a:rPr lang="de-DE" err="1">
                <a:sym typeface="Wingdings" pitchFamily="2" charset="2"/>
              </a:rPr>
              <a:t>libraries</a:t>
            </a:r>
            <a:r>
              <a:rPr lang="de-DE">
                <a:sym typeface="Wingdings" pitchFamily="2" charset="2"/>
              </a:rPr>
              <a:t> and </a:t>
            </a:r>
            <a:r>
              <a:rPr lang="de-DE" err="1">
                <a:sym typeface="Wingdings" pitchFamily="2" charset="2"/>
              </a:rPr>
              <a:t>search</a:t>
            </a:r>
            <a:r>
              <a:rPr lang="de-DE">
                <a:sym typeface="Wingdings" pitchFamily="2" charset="2"/>
              </a:rPr>
              <a:t> </a:t>
            </a:r>
            <a:r>
              <a:rPr lang="de-DE" err="1">
                <a:sym typeface="Wingdings" pitchFamily="2" charset="2"/>
              </a:rPr>
              <a:t>querys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4571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C2D6E3-A43C-DB7C-C228-0AAE99C9C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69AA5E0-2D2F-C620-AA01-3AC32C3218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3A84E96-35B8-290C-8375-35DD543009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de-DE"/>
              <a:t>As </a:t>
            </a:r>
            <a:r>
              <a:rPr lang="de-DE" err="1"/>
              <a:t>well</a:t>
            </a:r>
            <a:r>
              <a:rPr lang="de-DE"/>
              <a:t> </a:t>
            </a:r>
            <a:r>
              <a:rPr lang="de-DE" err="1"/>
              <a:t>as</a:t>
            </a:r>
            <a:r>
              <a:rPr lang="de-DE"/>
              <a:t> alternative </a:t>
            </a:r>
            <a:r>
              <a:rPr lang="de-DE" err="1"/>
              <a:t>spelling</a:t>
            </a:r>
            <a:r>
              <a:rPr lang="de-DE"/>
              <a:t> &amp; </a:t>
            </a:r>
            <a:r>
              <a:rPr lang="de-DE" err="1"/>
              <a:t>synonyms</a:t>
            </a:r>
            <a:endParaRPr lang="de-DE"/>
          </a:p>
          <a:p>
            <a:pPr marL="0" indent="0">
              <a:buFont typeface="+mj-lt"/>
              <a:buNone/>
            </a:pPr>
            <a:endParaRPr lang="de-DE"/>
          </a:p>
          <a:p>
            <a:pPr marL="0" indent="0">
              <a:buFont typeface="+mj-lt"/>
              <a:buNone/>
            </a:pPr>
            <a:r>
              <a:rPr lang="de-DE" err="1"/>
              <a:t>How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use</a:t>
            </a:r>
            <a:r>
              <a:rPr lang="de-DE"/>
              <a:t> </a:t>
            </a:r>
            <a:r>
              <a:rPr lang="de-DE" err="1"/>
              <a:t>those</a:t>
            </a:r>
            <a:r>
              <a:rPr lang="de-DE"/>
              <a:t> </a:t>
            </a:r>
            <a:r>
              <a:rPr lang="de-DE" err="1"/>
              <a:t>search</a:t>
            </a:r>
            <a:r>
              <a:rPr lang="de-DE"/>
              <a:t> </a:t>
            </a:r>
            <a:r>
              <a:rPr lang="de-DE" err="1"/>
              <a:t>terms</a:t>
            </a:r>
            <a:r>
              <a:rPr lang="de-DE"/>
              <a:t> </a:t>
            </a:r>
            <a:r>
              <a:rPr lang="de-DE" err="1"/>
              <a:t>properly</a:t>
            </a:r>
            <a:r>
              <a:rPr lang="de-DE"/>
              <a:t> and screen </a:t>
            </a:r>
            <a:r>
              <a:rPr lang="de-DE" err="1"/>
              <a:t>libraries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5ED390-EFCD-3001-AF04-A5A48679BE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8160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1AF48-922F-3AB6-CE0A-8E34DEF77D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C7F3E4C-B145-DBD6-DA85-391178759D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7E58A79-6370-9A16-E2FE-33E485BE01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owever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Metaverse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s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a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rending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opic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in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op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ulture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s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ell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s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relevant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or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innovative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mpanies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 </a:t>
            </a:r>
          </a:p>
          <a:p>
            <a:pPr marL="0" indent="0">
              <a:buFont typeface="+mj-lt"/>
              <a:buNone/>
            </a:pP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nsidered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actical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source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rom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mpanies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&amp;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ther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jects</a:t>
            </a:r>
            <a:endParaRPr lang="de-DE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0" indent="0">
              <a:buFont typeface="+mj-lt"/>
              <a:buNone/>
            </a:pPr>
            <a:endParaRPr lang="de-DE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0" indent="0">
              <a:buFont typeface="+mj-lt"/>
              <a:buNone/>
            </a:pP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Learned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  <a:sym typeface="Wingdings" pitchFamily="2" charset="2"/>
              </a:rPr>
              <a:t>practical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  <a:sym typeface="Wingdings" pitchFamily="2" charset="2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  <a:sym typeface="Wingdings" pitchFamily="2" charset="2"/>
              </a:rPr>
              <a:t>sources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  <a:sym typeface="Wingdings" pitchFamily="2" charset="2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  <a:sym typeface="Wingdings" pitchFamily="2" charset="2"/>
              </a:rPr>
              <a:t>to</a:t>
            </a:r>
            <a:r>
              <a:rPr lang="de-DE" b="0" i="0">
                <a:solidFill>
                  <a:srgbClr val="000000"/>
                </a:solidFill>
                <a:effectLst/>
                <a:latin typeface="Arial" panose="020B0604020202020204" pitchFamily="34" charset="0"/>
                <a:sym typeface="Wingdings" pitchFamily="2" charset="2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Arial" panose="020B0604020202020204" pitchFamily="34" charset="0"/>
                <a:sym typeface="Wingdings" pitchFamily="2" charset="2"/>
              </a:rPr>
              <a:t>includ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1D2DBF6-F860-DB3D-2D41-707D456923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98345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DE0E4B-9FD3-ADAF-0C3D-E4EBAF84A7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C52D02D-762F-FD22-6402-C233095ED5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AFB7D59-9DB4-9F63-49DC-6E004C384D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de-DE"/>
              <a:t>Search </a:t>
            </a:r>
            <a:r>
              <a:rPr lang="de-DE" err="1"/>
              <a:t>query</a:t>
            </a:r>
            <a:r>
              <a:rPr lang="de-DE"/>
              <a:t> was </a:t>
            </a:r>
            <a:r>
              <a:rPr lang="de-DE" err="1"/>
              <a:t>adapt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etadata</a:t>
            </a:r>
            <a:r>
              <a:rPr lang="de-DE"/>
              <a:t> such </a:t>
            </a:r>
            <a:r>
              <a:rPr lang="de-DE" err="1"/>
              <a:t>as</a:t>
            </a:r>
            <a:r>
              <a:rPr lang="de-DE"/>
              <a:t> </a:t>
            </a:r>
          </a:p>
          <a:p>
            <a:pPr marL="0" indent="0">
              <a:buFont typeface="+mj-lt"/>
              <a:buNone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697D7A-0951-8FE6-CB6C-F883BAD59B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60999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199378-C0C7-E5CC-7C24-9C4F0DE929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348CA63-45C9-26C3-9DAB-50147E81A7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763194F-7C63-E268-8682-1192B1C48A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de-DE"/>
              <a:t>Educational, </a:t>
            </a:r>
            <a:r>
              <a:rPr lang="de-DE" err="1"/>
              <a:t>learning</a:t>
            </a:r>
            <a:r>
              <a:rPr lang="de-DE"/>
              <a:t> </a:t>
            </a:r>
            <a:r>
              <a:rPr lang="de-DE" err="1"/>
              <a:t>aspects</a:t>
            </a:r>
            <a:endParaRPr lang="de-DE"/>
          </a:p>
          <a:p>
            <a:pPr marL="228600" indent="-228600">
              <a:buFont typeface="+mj-lt"/>
              <a:buAutoNum type="arabicPeriod"/>
            </a:pPr>
            <a:r>
              <a:rPr lang="de-DE" err="1"/>
              <a:t>Latest</a:t>
            </a:r>
            <a:r>
              <a:rPr lang="de-DE"/>
              <a:t> </a:t>
            </a:r>
            <a:r>
              <a:rPr lang="de-DE" err="1"/>
              <a:t>publications</a:t>
            </a:r>
            <a:endParaRPr lang="de-DE"/>
          </a:p>
          <a:p>
            <a:pPr marL="228600" indent="-228600">
              <a:buFont typeface="+mj-lt"/>
              <a:buAutoNum type="arabicPeriod"/>
            </a:pPr>
            <a:r>
              <a:rPr lang="de-DE" err="1"/>
              <a:t>Paedagogical</a:t>
            </a:r>
            <a:r>
              <a:rPr lang="de-DE"/>
              <a:t> </a:t>
            </a:r>
            <a:r>
              <a:rPr lang="de-DE" err="1"/>
              <a:t>model</a:t>
            </a:r>
            <a:r>
              <a:rPr lang="de-DE"/>
              <a:t> </a:t>
            </a:r>
            <a:r>
              <a:rPr lang="de-DE" err="1"/>
              <a:t>consideration</a:t>
            </a:r>
            <a:endParaRPr lang="de-DE"/>
          </a:p>
          <a:p>
            <a:pPr marL="228600" indent="-228600">
              <a:buFont typeface="+mj-lt"/>
              <a:buAutoNum type="arabicPeriod"/>
            </a:pPr>
            <a:r>
              <a:rPr lang="de-DE"/>
              <a:t>Theory &amp; </a:t>
            </a:r>
            <a:r>
              <a:rPr lang="de-DE" err="1"/>
              <a:t>practice</a:t>
            </a:r>
            <a:endParaRPr lang="de-DE"/>
          </a:p>
          <a:p>
            <a:pPr marL="228600" indent="-228600">
              <a:buFont typeface="+mj-lt"/>
              <a:buAutoNum type="arabicPeriod"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1CFBA26-801B-E9B1-C401-CE678AB133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1564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err="1"/>
              <a:t>From</a:t>
            </a:r>
            <a:r>
              <a:rPr lang="de-DE"/>
              <a:t> 24 Studies / </a:t>
            </a:r>
            <a:r>
              <a:rPr lang="de-DE" err="1"/>
              <a:t>sources</a:t>
            </a: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>
                <a:solidFill>
                  <a:srgbClr val="000000"/>
                </a:solidFill>
                <a:effectLst/>
                <a:latin typeface="WordVisi_MSFontService"/>
              </a:rPr>
              <a:t>a range of perspectives, including academic articles, industry reports, interviews, and podcasts</a:t>
            </a:r>
            <a:endParaRPr lang="de-DE" b="0" i="0">
              <a:solidFill>
                <a:srgbClr val="000000"/>
              </a:solidFill>
              <a:effectLst/>
              <a:latin typeface="WordVisi_MSFontServic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>
                <a:solidFill>
                  <a:srgbClr val="000000"/>
                </a:solidFill>
                <a:effectLst/>
                <a:latin typeface="WordVisi_MSFontService"/>
              </a:rPr>
              <a:t>The </a:t>
            </a:r>
            <a:r>
              <a:rPr lang="de-DE" b="0" i="0" err="1">
                <a:solidFill>
                  <a:srgbClr val="000000"/>
                </a:solidFill>
                <a:effectLst/>
                <a:latin typeface="WordVisi_MSFontService"/>
              </a:rPr>
              <a:t>knowledge</a:t>
            </a:r>
            <a:r>
              <a:rPr lang="de-DE" b="0" i="0">
                <a:solidFill>
                  <a:srgbClr val="000000"/>
                </a:solidFill>
                <a:effectLst/>
                <a:latin typeface="WordVisi_MSFontService"/>
              </a:rPr>
              <a:t> was </a:t>
            </a:r>
            <a:r>
              <a:rPr lang="de-DE" b="0" i="0" err="1">
                <a:solidFill>
                  <a:srgbClr val="000000"/>
                </a:solidFill>
                <a:effectLst/>
                <a:latin typeface="WordVisi_MSFontService"/>
              </a:rPr>
              <a:t>categorized</a:t>
            </a:r>
            <a:r>
              <a:rPr lang="de-DE" b="0" i="0">
                <a:solidFill>
                  <a:srgbClr val="000000"/>
                </a:solidFill>
                <a:effectLst/>
                <a:latin typeface="WordVisi_MSFontService"/>
              </a:rPr>
              <a:t> </a:t>
            </a:r>
            <a:r>
              <a:rPr lang="de-DE" b="0" i="0" err="1">
                <a:solidFill>
                  <a:srgbClr val="000000"/>
                </a:solidFill>
                <a:effectLst/>
                <a:latin typeface="WordVisi_MSFontService"/>
              </a:rPr>
              <a:t>into</a:t>
            </a:r>
            <a:r>
              <a:rPr lang="de-DE" b="0" i="0">
                <a:solidFill>
                  <a:srgbClr val="000000"/>
                </a:solidFill>
                <a:effectLst/>
                <a:latin typeface="WordVisi_MSFontService"/>
              </a:rPr>
              <a:t> 3 </a:t>
            </a:r>
            <a:r>
              <a:rPr lang="de-DE" b="0" i="0" err="1">
                <a:solidFill>
                  <a:srgbClr val="000000"/>
                </a:solidFill>
                <a:effectLst/>
                <a:latin typeface="WordVisi_MSFontService"/>
              </a:rPr>
              <a:t>categories</a:t>
            </a:r>
            <a:endParaRPr lang="de-DE"/>
          </a:p>
          <a:p>
            <a:r>
              <a:rPr lang="de-DE"/>
              <a:t>Benefits &amp; Potential, </a:t>
            </a:r>
            <a:r>
              <a:rPr lang="de-DE" err="1"/>
              <a:t>Downsides</a:t>
            </a:r>
            <a:r>
              <a:rPr lang="de-DE"/>
              <a:t> &amp; </a:t>
            </a:r>
            <a:r>
              <a:rPr lang="de-DE" err="1"/>
              <a:t>Obstacles</a:t>
            </a:r>
            <a:r>
              <a:rPr lang="de-DE"/>
              <a:t>, Future Studi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F93703-73BA-47D5-8B02-C172375928D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5405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4">
                  <a:alpha val="50000"/>
                </a:schemeClr>
              </a:gs>
              <a:gs pos="5000">
                <a:schemeClr val="accent4"/>
              </a:gs>
              <a:gs pos="100000">
                <a:schemeClr val="accent4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 </a:t>
            </a:r>
          </a:p>
        </p:txBody>
      </p:sp>
      <p:sp>
        <p:nvSpPr>
          <p:cNvPr id="165" name="Bildplatzhalter 60">
            <a:extLst>
              <a:ext uri="{FF2B5EF4-FFF2-40B4-BE49-F238E27FC236}">
                <a16:creationId xmlns:a16="http://schemas.microsoft.com/office/drawing/2014/main" id="{F018B551-27B5-4B00-BF39-7527999917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1DC1BF-B7B9-4143-AFEB-7D1D6C73E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4979505" cy="1030539"/>
          </a:xfrm>
        </p:spPr>
        <p:txBody>
          <a:bodyPr wrap="none" tIns="0" rIns="0"/>
          <a:lstStyle>
            <a:lvl1pPr algn="l">
              <a:lnSpc>
                <a:spcPct val="11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/>
              <a:t>Willkommen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929994FB-5DBF-40C3-99B7-BCB45F80FCBA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67BB0E1-5E7F-46E5-9D87-74249FA80151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735EC3F0-D52F-43D8-9D20-FC4F70B1922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D73E6E84-A759-4118-9971-2B614D3FE504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F1FCC803-A93B-423F-B835-B52876B2721B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94D29247-DB20-40F1-888F-155F9E5ABC8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5E32A3F3-E989-43F3-A16F-94173C632533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44D22F83-A0F5-4FE2-9D6C-012542F7E2B8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BA2BC1BF-6FE4-4475-BE69-6D37CBD51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88D7DDBE-C865-4F05-B6F5-3E2BBB15FDA7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5BF365C6-4DF1-469F-A081-5BB981472333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9CA1C573-E95F-4CC5-A4BE-0E74960DBC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02A35681-195F-407A-BB6C-7E3B4E241132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BF6DC0B3-1B79-4824-B73B-DC9B7AA77A08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439D9EA3-D6F8-4D8A-8C91-B7BCDD4883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EF8776E0-353D-4DBE-918C-2BE4D9ED22C0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EB1A981A-C15F-48BC-856D-45BFDE402164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CA1B7D91-52B4-4C4E-9872-DAE627C5BD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DD5301F3-CDC0-4F62-A7F3-64DF1FAFB6C3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C5363AC9-A7FE-4ED9-A4AE-BF1F41479440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A5C058E5-1B77-4F37-8A90-6C2DB0C9F0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3F3FD432-7B0C-441D-887D-260F088129D6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11D3348D-CD05-48E5-89ED-528A62DA8118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8C904B9B-CFB8-4878-BE89-64B7783A68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C15810B6-1DFF-43DE-849F-E24988A1AC21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CFDE3FDD-B76C-49E7-81B4-7302EAE01430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CC2966EC-F4C0-41FC-88ED-2E5F725EA0B2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92230FDE-430C-429C-A396-DFCEF2CE147E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53056242-C21F-4347-8E6E-305C959935E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A954A2AB-7A1B-4F20-8556-0C283B584BE2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86" name="Gerader Verbinder 85">
              <a:extLst>
                <a:ext uri="{FF2B5EF4-FFF2-40B4-BE49-F238E27FC236}">
                  <a16:creationId xmlns:a16="http://schemas.microsoft.com/office/drawing/2014/main" id="{C31D32E9-A207-4C49-AAE0-5A541EE5B5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feld 86">
              <a:extLst>
                <a:ext uri="{FF2B5EF4-FFF2-40B4-BE49-F238E27FC236}">
                  <a16:creationId xmlns:a16="http://schemas.microsoft.com/office/drawing/2014/main" id="{0027A521-04C3-4807-A55B-38087BBBA705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213" name="Grafik 3">
            <a:extLst>
              <a:ext uri="{FF2B5EF4-FFF2-40B4-BE49-F238E27FC236}">
                <a16:creationId xmlns:a16="http://schemas.microsoft.com/office/drawing/2014/main" id="{1809E430-A4A0-4F14-BD9A-92AA8E11E120}"/>
              </a:ext>
            </a:extLst>
          </p:cNvPr>
          <p:cNvGrpSpPr/>
          <p:nvPr userDrawn="1"/>
        </p:nvGrpSpPr>
        <p:grpSpPr>
          <a:xfrm>
            <a:off x="510639" y="293688"/>
            <a:ext cx="2631832" cy="563562"/>
            <a:chOff x="4011188" y="1936931"/>
            <a:chExt cx="6776742" cy="1451124"/>
          </a:xfrm>
          <a:solidFill>
            <a:schemeClr val="tx1"/>
          </a:solidFill>
        </p:grpSpPr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8F6D4EE4-085A-459C-82C9-AF72AB235F3A}"/>
                </a:ext>
              </a:extLst>
            </p:cNvPr>
            <p:cNvSpPr/>
            <p:nvPr/>
          </p:nvSpPr>
          <p:spPr>
            <a:xfrm>
              <a:off x="4034676" y="1955336"/>
              <a:ext cx="203537" cy="324184"/>
            </a:xfrm>
            <a:custGeom>
              <a:avLst/>
              <a:gdLst>
                <a:gd name="connsiteX0" fmla="*/ 203538 w 203537"/>
                <a:gd name="connsiteY0" fmla="*/ 52963 h 324184"/>
                <a:gd name="connsiteX1" fmla="*/ 57561 w 203537"/>
                <a:gd name="connsiteY1" fmla="*/ 52963 h 324184"/>
                <a:gd name="connsiteX2" fmla="*/ 57561 w 203537"/>
                <a:gd name="connsiteY2" fmla="*/ 133551 h 324184"/>
                <a:gd name="connsiteX3" fmla="*/ 166694 w 203537"/>
                <a:gd name="connsiteY3" fmla="*/ 133551 h 324184"/>
                <a:gd name="connsiteX4" fmla="*/ 166694 w 203537"/>
                <a:gd name="connsiteY4" fmla="*/ 186045 h 324184"/>
                <a:gd name="connsiteX5" fmla="*/ 57561 w 203537"/>
                <a:gd name="connsiteY5" fmla="*/ 186045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63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63"/>
                  </a:moveTo>
                  <a:lnTo>
                    <a:pt x="57561" y="52963"/>
                  </a:lnTo>
                  <a:lnTo>
                    <a:pt x="57561" y="133551"/>
                  </a:lnTo>
                  <a:lnTo>
                    <a:pt x="166694" y="133551"/>
                  </a:lnTo>
                  <a:lnTo>
                    <a:pt x="166694" y="186045"/>
                  </a:lnTo>
                  <a:lnTo>
                    <a:pt x="57561" y="186045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D1EFA498-5D6C-4949-A057-45EACB161715}"/>
                </a:ext>
              </a:extLst>
            </p:cNvPr>
            <p:cNvSpPr/>
            <p:nvPr/>
          </p:nvSpPr>
          <p:spPr>
            <a:xfrm>
              <a:off x="426950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94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84 w 141832"/>
                <a:gd name="connsiteY7" fmla="*/ 5979 h 240364"/>
                <a:gd name="connsiteX8" fmla="*/ 53884 w 141832"/>
                <a:gd name="connsiteY8" fmla="*/ 35454 h 240364"/>
                <a:gd name="connsiteX9" fmla="*/ 54797 w 141832"/>
                <a:gd name="connsiteY9" fmla="*/ 35454 h 240364"/>
                <a:gd name="connsiteX10" fmla="*/ 116041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800" y="56631"/>
                    <a:pt x="114668" y="53868"/>
                    <a:pt x="102694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84" y="5979"/>
                  </a:lnTo>
                  <a:lnTo>
                    <a:pt x="53884" y="35454"/>
                  </a:lnTo>
                  <a:lnTo>
                    <a:pt x="54797" y="35454"/>
                  </a:lnTo>
                  <a:cubicBezTo>
                    <a:pt x="67232" y="13348"/>
                    <a:pt x="89338" y="0"/>
                    <a:pt x="116041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226BEB46-8DDC-4F31-84D5-43C1D428FD87}"/>
                </a:ext>
              </a:extLst>
            </p:cNvPr>
            <p:cNvSpPr/>
            <p:nvPr/>
          </p:nvSpPr>
          <p:spPr>
            <a:xfrm>
              <a:off x="4450268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5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5 w 69542"/>
                <a:gd name="connsiteY8" fmla="*/ 104076 h 338461"/>
                <a:gd name="connsiteX9" fmla="*/ 62175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76" y="0"/>
                    <a:pt x="69543" y="14277"/>
                    <a:pt x="69543" y="33160"/>
                  </a:cubicBezTo>
                  <a:close/>
                  <a:moveTo>
                    <a:pt x="6217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5" y="104076"/>
                  </a:lnTo>
                  <a:lnTo>
                    <a:pt x="6217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24E98491-A86C-43A3-8589-BB48949DBB2B}"/>
                </a:ext>
              </a:extLst>
            </p:cNvPr>
            <p:cNvSpPr/>
            <p:nvPr/>
          </p:nvSpPr>
          <p:spPr>
            <a:xfrm>
              <a:off x="4570153" y="2039148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6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8"/>
                    <a:pt x="83360" y="198924"/>
                    <a:pt x="116511" y="198924"/>
                  </a:cubicBezTo>
                  <a:cubicBezTo>
                    <a:pt x="138157" y="198924"/>
                    <a:pt x="155657" y="190634"/>
                    <a:pt x="174079" y="171291"/>
                  </a:cubicBezTo>
                  <a:lnTo>
                    <a:pt x="208152" y="207214"/>
                  </a:lnTo>
                  <a:cubicBezTo>
                    <a:pt x="181431" y="233465"/>
                    <a:pt x="151495" y="245900"/>
                    <a:pt x="116042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6"/>
                    <a:pt x="109125" y="45126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86586E11-2F38-4E90-98CE-782A08295553}"/>
                </a:ext>
              </a:extLst>
            </p:cNvPr>
            <p:cNvSpPr/>
            <p:nvPr/>
          </p:nvSpPr>
          <p:spPr>
            <a:xfrm>
              <a:off x="4831929" y="1936931"/>
              <a:ext cx="219187" cy="348116"/>
            </a:xfrm>
            <a:custGeom>
              <a:avLst/>
              <a:gdLst>
                <a:gd name="connsiteX0" fmla="*/ 0 w 219187"/>
                <a:gd name="connsiteY0" fmla="*/ 224706 h 348116"/>
                <a:gd name="connsiteX1" fmla="*/ 95317 w 219187"/>
                <a:gd name="connsiteY1" fmla="*/ 102217 h 348116"/>
                <a:gd name="connsiteX2" fmla="*/ 163478 w 219187"/>
                <a:gd name="connsiteY2" fmla="*/ 133986 h 348116"/>
                <a:gd name="connsiteX3" fmla="*/ 164391 w 219187"/>
                <a:gd name="connsiteY3" fmla="*/ 133986 h 348116"/>
                <a:gd name="connsiteX4" fmla="*/ 164391 w 219187"/>
                <a:gd name="connsiteY4" fmla="*/ 13808 h 348116"/>
                <a:gd name="connsiteX5" fmla="*/ 219188 w 219187"/>
                <a:gd name="connsiteY5" fmla="*/ 0 h 348116"/>
                <a:gd name="connsiteX6" fmla="*/ 219188 w 219187"/>
                <a:gd name="connsiteY6" fmla="*/ 342590 h 348116"/>
                <a:gd name="connsiteX7" fmla="*/ 165773 w 219187"/>
                <a:gd name="connsiteY7" fmla="*/ 342590 h 348116"/>
                <a:gd name="connsiteX8" fmla="*/ 165773 w 219187"/>
                <a:gd name="connsiteY8" fmla="*/ 314957 h 348116"/>
                <a:gd name="connsiteX9" fmla="*/ 164851 w 219187"/>
                <a:gd name="connsiteY9" fmla="*/ 314957 h 348116"/>
                <a:gd name="connsiteX10" fmla="*/ 94404 w 219187"/>
                <a:gd name="connsiteY10" fmla="*/ 348117 h 348116"/>
                <a:gd name="connsiteX11" fmla="*/ 0 w 219187"/>
                <a:gd name="connsiteY11" fmla="*/ 224706 h 348116"/>
                <a:gd name="connsiteX12" fmla="*/ 54328 w 219187"/>
                <a:gd name="connsiteY12" fmla="*/ 224706 h 348116"/>
                <a:gd name="connsiteX13" fmla="*/ 108664 w 219187"/>
                <a:gd name="connsiteY13" fmla="*/ 299767 h 348116"/>
                <a:gd name="connsiteX14" fmla="*/ 164383 w 219187"/>
                <a:gd name="connsiteY14" fmla="*/ 268911 h 348116"/>
                <a:gd name="connsiteX15" fmla="*/ 164383 w 219187"/>
                <a:gd name="connsiteY15" fmla="*/ 183265 h 348116"/>
                <a:gd name="connsiteX16" fmla="*/ 108664 w 219187"/>
                <a:gd name="connsiteY16" fmla="*/ 151956 h 348116"/>
                <a:gd name="connsiteX17" fmla="*/ 54328 w 219187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87" h="348116">
                  <a:moveTo>
                    <a:pt x="0" y="224706"/>
                  </a:moveTo>
                  <a:cubicBezTo>
                    <a:pt x="0" y="149185"/>
                    <a:pt x="38217" y="102217"/>
                    <a:pt x="95317" y="102217"/>
                  </a:cubicBezTo>
                  <a:cubicBezTo>
                    <a:pt x="124792" y="102217"/>
                    <a:pt x="147819" y="114643"/>
                    <a:pt x="163478" y="133986"/>
                  </a:cubicBezTo>
                  <a:lnTo>
                    <a:pt x="164391" y="133986"/>
                  </a:lnTo>
                  <a:lnTo>
                    <a:pt x="164391" y="13808"/>
                  </a:lnTo>
                  <a:lnTo>
                    <a:pt x="219188" y="0"/>
                  </a:lnTo>
                  <a:lnTo>
                    <a:pt x="219188" y="342590"/>
                  </a:lnTo>
                  <a:lnTo>
                    <a:pt x="165773" y="342590"/>
                  </a:lnTo>
                  <a:lnTo>
                    <a:pt x="165773" y="314957"/>
                  </a:lnTo>
                  <a:lnTo>
                    <a:pt x="164851" y="314957"/>
                  </a:lnTo>
                  <a:cubicBezTo>
                    <a:pt x="147819" y="335682"/>
                    <a:pt x="123410" y="348117"/>
                    <a:pt x="94404" y="348117"/>
                  </a:cubicBezTo>
                  <a:cubicBezTo>
                    <a:pt x="38677" y="348117"/>
                    <a:pt x="0" y="300689"/>
                    <a:pt x="0" y="224706"/>
                  </a:cubicBezTo>
                  <a:close/>
                  <a:moveTo>
                    <a:pt x="54328" y="224706"/>
                  </a:moveTo>
                  <a:cubicBezTo>
                    <a:pt x="54328" y="272595"/>
                    <a:pt x="74131" y="299767"/>
                    <a:pt x="108664" y="299767"/>
                  </a:cubicBezTo>
                  <a:cubicBezTo>
                    <a:pt x="129849" y="299767"/>
                    <a:pt x="147351" y="289635"/>
                    <a:pt x="164383" y="268911"/>
                  </a:cubicBezTo>
                  <a:lnTo>
                    <a:pt x="164383" y="183265"/>
                  </a:lnTo>
                  <a:cubicBezTo>
                    <a:pt x="148732" y="162088"/>
                    <a:pt x="130762" y="151956"/>
                    <a:pt x="108664" y="151956"/>
                  </a:cubicBezTo>
                  <a:cubicBezTo>
                    <a:pt x="73210" y="151956"/>
                    <a:pt x="54328" y="177739"/>
                    <a:pt x="54328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F67D1AD5-99F8-4263-A1A6-71A982D72E61}"/>
                </a:ext>
              </a:extLst>
            </p:cNvPr>
            <p:cNvSpPr/>
            <p:nvPr/>
          </p:nvSpPr>
          <p:spPr>
            <a:xfrm>
              <a:off x="512248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86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7 w 141832"/>
                <a:gd name="connsiteY9" fmla="*/ 35454 h 240364"/>
                <a:gd name="connsiteX10" fmla="*/ 116033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792" y="56631"/>
                    <a:pt x="114660" y="53868"/>
                    <a:pt x="102686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3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BF8B1A12-11A7-42FF-8F31-2FFE11ECE0C2}"/>
                </a:ext>
              </a:extLst>
            </p:cNvPr>
            <p:cNvSpPr/>
            <p:nvPr/>
          </p:nvSpPr>
          <p:spPr>
            <a:xfrm>
              <a:off x="5303239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5BF2A515-E766-41FF-8C27-C9003567EAC7}"/>
                </a:ext>
              </a:extLst>
            </p:cNvPr>
            <p:cNvSpPr/>
            <p:nvPr/>
          </p:nvSpPr>
          <p:spPr>
            <a:xfrm>
              <a:off x="5424179" y="2039156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2"/>
                    <a:pt x="112809" y="50192"/>
                  </a:cubicBezTo>
                  <a:cubicBezTo>
                    <a:pt x="78277" y="50192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71" y="196161"/>
                    <a:pt x="145509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7F510EBB-F96A-4861-B8B5-E1218516CEB6}"/>
                </a:ext>
              </a:extLst>
            </p:cNvPr>
            <p:cNvSpPr/>
            <p:nvPr/>
          </p:nvSpPr>
          <p:spPr>
            <a:xfrm>
              <a:off x="5668731" y="1936931"/>
              <a:ext cx="201695" cy="342590"/>
            </a:xfrm>
            <a:custGeom>
              <a:avLst/>
              <a:gdLst>
                <a:gd name="connsiteX0" fmla="*/ 201695 w 201695"/>
                <a:gd name="connsiteY0" fmla="*/ 342590 h 342590"/>
                <a:gd name="connsiteX1" fmla="*/ 146898 w 201695"/>
                <a:gd name="connsiteY1" fmla="*/ 342590 h 342590"/>
                <a:gd name="connsiteX2" fmla="*/ 146898 w 201695"/>
                <a:gd name="connsiteY2" fmla="*/ 208587 h 342590"/>
                <a:gd name="connsiteX3" fmla="*/ 103607 w 201695"/>
                <a:gd name="connsiteY3" fmla="*/ 151487 h 342590"/>
                <a:gd name="connsiteX4" fmla="*/ 54797 w 201695"/>
                <a:gd name="connsiteY4" fmla="*/ 208135 h 342590"/>
                <a:gd name="connsiteX5" fmla="*/ 54797 w 201695"/>
                <a:gd name="connsiteY5" fmla="*/ 342590 h 342590"/>
                <a:gd name="connsiteX6" fmla="*/ 0 w 201695"/>
                <a:gd name="connsiteY6" fmla="*/ 342590 h 342590"/>
                <a:gd name="connsiteX7" fmla="*/ 0 w 201695"/>
                <a:gd name="connsiteY7" fmla="*/ 13808 h 342590"/>
                <a:gd name="connsiteX8" fmla="*/ 54797 w 201695"/>
                <a:gd name="connsiteY8" fmla="*/ 0 h 342590"/>
                <a:gd name="connsiteX9" fmla="*/ 54797 w 201695"/>
                <a:gd name="connsiteY9" fmla="*/ 136298 h 342590"/>
                <a:gd name="connsiteX10" fmla="*/ 55718 w 201695"/>
                <a:gd name="connsiteY10" fmla="*/ 136298 h 342590"/>
                <a:gd name="connsiteX11" fmla="*/ 124323 w 201695"/>
                <a:gd name="connsiteY11" fmla="*/ 102225 h 342590"/>
                <a:gd name="connsiteX12" fmla="*/ 201687 w 201695"/>
                <a:gd name="connsiteY12" fmla="*/ 197082 h 342590"/>
                <a:gd name="connsiteX13" fmla="*/ 201687 w 201695"/>
                <a:gd name="connsiteY13" fmla="*/ 342590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0">
                  <a:moveTo>
                    <a:pt x="201695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297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0"/>
                  </a:lnTo>
                  <a:lnTo>
                    <a:pt x="0" y="342590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F4C5C431-4D27-4E94-8A72-9F5026A0DB92}"/>
                </a:ext>
              </a:extLst>
            </p:cNvPr>
            <p:cNvSpPr/>
            <p:nvPr/>
          </p:nvSpPr>
          <p:spPr>
            <a:xfrm>
              <a:off x="5933312" y="2109603"/>
              <a:ext cx="115120" cy="52033"/>
            </a:xfrm>
            <a:custGeom>
              <a:avLst/>
              <a:gdLst>
                <a:gd name="connsiteX0" fmla="*/ 115121 w 115120"/>
                <a:gd name="connsiteY0" fmla="*/ 52034 h 52033"/>
                <a:gd name="connsiteX1" fmla="*/ 0 w 115120"/>
                <a:gd name="connsiteY1" fmla="*/ 52034 h 52033"/>
                <a:gd name="connsiteX2" fmla="*/ 0 w 115120"/>
                <a:gd name="connsiteY2" fmla="*/ 0 h 52033"/>
                <a:gd name="connsiteX3" fmla="*/ 115121 w 115120"/>
                <a:gd name="connsiteY3" fmla="*/ 0 h 52033"/>
                <a:gd name="connsiteX4" fmla="*/ 115121 w 115120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20" h="52033">
                  <a:moveTo>
                    <a:pt x="115121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1" y="0"/>
                  </a:lnTo>
                  <a:lnTo>
                    <a:pt x="115121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C7807AF4-2931-4060-8651-FAE57D3A1697}"/>
                </a:ext>
              </a:extLst>
            </p:cNvPr>
            <p:cNvSpPr/>
            <p:nvPr/>
          </p:nvSpPr>
          <p:spPr>
            <a:xfrm>
              <a:off x="6076636" y="1955336"/>
              <a:ext cx="302078" cy="324184"/>
            </a:xfrm>
            <a:custGeom>
              <a:avLst/>
              <a:gdLst>
                <a:gd name="connsiteX0" fmla="*/ 120647 w 302078"/>
                <a:gd name="connsiteY0" fmla="*/ 0 h 324184"/>
                <a:gd name="connsiteX1" fmla="*/ 181431 w 302078"/>
                <a:gd name="connsiteY1" fmla="*/ 0 h 324184"/>
                <a:gd name="connsiteX2" fmla="*/ 302079 w 302078"/>
                <a:gd name="connsiteY2" fmla="*/ 324185 h 324184"/>
                <a:gd name="connsiteX3" fmla="*/ 238991 w 302078"/>
                <a:gd name="connsiteY3" fmla="*/ 324185 h 324184"/>
                <a:gd name="connsiteX4" fmla="*/ 215503 w 302078"/>
                <a:gd name="connsiteY4" fmla="*/ 255111 h 324184"/>
                <a:gd name="connsiteX5" fmla="*/ 84732 w 302078"/>
                <a:gd name="connsiteY5" fmla="*/ 255111 h 324184"/>
                <a:gd name="connsiteX6" fmla="*/ 61244 w 302078"/>
                <a:gd name="connsiteY6" fmla="*/ 324185 h 324184"/>
                <a:gd name="connsiteX7" fmla="*/ 0 w 302078"/>
                <a:gd name="connsiteY7" fmla="*/ 324185 h 324184"/>
                <a:gd name="connsiteX8" fmla="*/ 120647 w 302078"/>
                <a:gd name="connsiteY8" fmla="*/ 0 h 324184"/>
                <a:gd name="connsiteX9" fmla="*/ 102686 w 302078"/>
                <a:gd name="connsiteY9" fmla="*/ 203538 h 324184"/>
                <a:gd name="connsiteX10" fmla="*/ 197542 w 302078"/>
                <a:gd name="connsiteY10" fmla="*/ 203538 h 324184"/>
                <a:gd name="connsiteX11" fmla="*/ 150575 w 302078"/>
                <a:gd name="connsiteY11" fmla="*/ 65859 h 324184"/>
                <a:gd name="connsiteX12" fmla="*/ 149654 w 302078"/>
                <a:gd name="connsiteY12" fmla="*/ 65859 h 324184"/>
                <a:gd name="connsiteX13" fmla="*/ 102686 w 302078"/>
                <a:gd name="connsiteY13" fmla="*/ 203538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2078" h="324184">
                  <a:moveTo>
                    <a:pt x="120647" y="0"/>
                  </a:moveTo>
                  <a:lnTo>
                    <a:pt x="181431" y="0"/>
                  </a:lnTo>
                  <a:lnTo>
                    <a:pt x="302079" y="324185"/>
                  </a:lnTo>
                  <a:lnTo>
                    <a:pt x="238991" y="324185"/>
                  </a:lnTo>
                  <a:lnTo>
                    <a:pt x="215503" y="255111"/>
                  </a:lnTo>
                  <a:lnTo>
                    <a:pt x="84732" y="255111"/>
                  </a:lnTo>
                  <a:lnTo>
                    <a:pt x="61244" y="324185"/>
                  </a:lnTo>
                  <a:lnTo>
                    <a:pt x="0" y="324185"/>
                  </a:lnTo>
                  <a:lnTo>
                    <a:pt x="120647" y="0"/>
                  </a:lnTo>
                  <a:close/>
                  <a:moveTo>
                    <a:pt x="102686" y="203538"/>
                  </a:moveTo>
                  <a:lnTo>
                    <a:pt x="197542" y="203538"/>
                  </a:lnTo>
                  <a:lnTo>
                    <a:pt x="150575" y="65859"/>
                  </a:lnTo>
                  <a:lnTo>
                    <a:pt x="149654" y="65859"/>
                  </a:lnTo>
                  <a:lnTo>
                    <a:pt x="102686" y="2035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0A540DAF-3F4A-4E60-AB20-08DE835AAC1F}"/>
                </a:ext>
              </a:extLst>
            </p:cNvPr>
            <p:cNvSpPr/>
            <p:nvPr/>
          </p:nvSpPr>
          <p:spPr>
            <a:xfrm>
              <a:off x="6426787" y="1937383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B740F740-2C9D-4EB2-B492-298181006824}"/>
                </a:ext>
              </a:extLst>
            </p:cNvPr>
            <p:cNvSpPr/>
            <p:nvPr/>
          </p:nvSpPr>
          <p:spPr>
            <a:xfrm>
              <a:off x="6541003" y="2039148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0 w 214130"/>
                <a:gd name="connsiteY3" fmla="*/ 119266 h 245899"/>
                <a:gd name="connsiteX4" fmla="*/ 213209 w 214130"/>
                <a:gd name="connsiteY4" fmla="*/ 141824 h 245899"/>
                <a:gd name="connsiteX5" fmla="*/ 55726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6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0" y="46968"/>
                    <a:pt x="214130" y="119266"/>
                  </a:cubicBezTo>
                  <a:cubicBezTo>
                    <a:pt x="214130" y="127095"/>
                    <a:pt x="213670" y="135385"/>
                    <a:pt x="213209" y="141824"/>
                  </a:cubicBezTo>
                  <a:lnTo>
                    <a:pt x="55726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31" y="233465"/>
                    <a:pt x="151487" y="245900"/>
                    <a:pt x="116033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72" y="65850"/>
                    <a:pt x="139990" y="45126"/>
                    <a:pt x="109134" y="45126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653C23F7-BCC6-448A-B74E-783CC86F6845}"/>
                </a:ext>
              </a:extLst>
            </p:cNvPr>
            <p:cNvSpPr/>
            <p:nvPr/>
          </p:nvSpPr>
          <p:spPr>
            <a:xfrm>
              <a:off x="6784224" y="2045127"/>
              <a:ext cx="224245" cy="234394"/>
            </a:xfrm>
            <a:custGeom>
              <a:avLst/>
              <a:gdLst>
                <a:gd name="connsiteX0" fmla="*/ 224245 w 224245"/>
                <a:gd name="connsiteY0" fmla="*/ 234395 h 234394"/>
                <a:gd name="connsiteX1" fmla="*/ 161619 w 224245"/>
                <a:gd name="connsiteY1" fmla="*/ 234395 h 234394"/>
                <a:gd name="connsiteX2" fmla="*/ 111427 w 224245"/>
                <a:gd name="connsiteY2" fmla="*/ 153346 h 234394"/>
                <a:gd name="connsiteX3" fmla="*/ 110515 w 224245"/>
                <a:gd name="connsiteY3" fmla="*/ 153346 h 234394"/>
                <a:gd name="connsiteX4" fmla="*/ 61697 w 224245"/>
                <a:gd name="connsiteY4" fmla="*/ 234395 h 234394"/>
                <a:gd name="connsiteX5" fmla="*/ 0 w 224245"/>
                <a:gd name="connsiteY5" fmla="*/ 234395 h 234394"/>
                <a:gd name="connsiteX6" fmla="*/ 80119 w 224245"/>
                <a:gd name="connsiteY6" fmla="*/ 112826 h 234394"/>
                <a:gd name="connsiteX7" fmla="*/ 5979 w 224245"/>
                <a:gd name="connsiteY7" fmla="*/ 0 h 234394"/>
                <a:gd name="connsiteX8" fmla="*/ 67684 w 224245"/>
                <a:gd name="connsiteY8" fmla="*/ 0 h 234394"/>
                <a:gd name="connsiteX9" fmla="*/ 111888 w 224245"/>
                <a:gd name="connsiteY9" fmla="*/ 71837 h 234394"/>
                <a:gd name="connsiteX10" fmla="*/ 112801 w 224245"/>
                <a:gd name="connsiteY10" fmla="*/ 71837 h 234394"/>
                <a:gd name="connsiteX11" fmla="*/ 156553 w 224245"/>
                <a:gd name="connsiteY11" fmla="*/ 0 h 234394"/>
                <a:gd name="connsiteX12" fmla="*/ 217337 w 224245"/>
                <a:gd name="connsiteY12" fmla="*/ 0 h 234394"/>
                <a:gd name="connsiteX13" fmla="*/ 143657 w 224245"/>
                <a:gd name="connsiteY13" fmla="*/ 111897 h 234394"/>
                <a:gd name="connsiteX14" fmla="*/ 224245 w 224245"/>
                <a:gd name="connsiteY14" fmla="*/ 234395 h 2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245" h="234394">
                  <a:moveTo>
                    <a:pt x="224245" y="234395"/>
                  </a:moveTo>
                  <a:lnTo>
                    <a:pt x="161619" y="234395"/>
                  </a:lnTo>
                  <a:lnTo>
                    <a:pt x="111427" y="153346"/>
                  </a:lnTo>
                  <a:lnTo>
                    <a:pt x="110515" y="153346"/>
                  </a:lnTo>
                  <a:lnTo>
                    <a:pt x="61697" y="234395"/>
                  </a:lnTo>
                  <a:lnTo>
                    <a:pt x="0" y="234395"/>
                  </a:lnTo>
                  <a:lnTo>
                    <a:pt x="80119" y="112826"/>
                  </a:lnTo>
                  <a:lnTo>
                    <a:pt x="5979" y="0"/>
                  </a:lnTo>
                  <a:lnTo>
                    <a:pt x="67684" y="0"/>
                  </a:lnTo>
                  <a:lnTo>
                    <a:pt x="111888" y="71837"/>
                  </a:lnTo>
                  <a:lnTo>
                    <a:pt x="112801" y="71837"/>
                  </a:lnTo>
                  <a:lnTo>
                    <a:pt x="156553" y="0"/>
                  </a:lnTo>
                  <a:lnTo>
                    <a:pt x="217337" y="0"/>
                  </a:lnTo>
                  <a:lnTo>
                    <a:pt x="143657" y="111897"/>
                  </a:lnTo>
                  <a:lnTo>
                    <a:pt x="224245" y="23439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1884E293-5900-4629-A460-9B364230A0D1}"/>
                </a:ext>
              </a:extLst>
            </p:cNvPr>
            <p:cNvSpPr/>
            <p:nvPr/>
          </p:nvSpPr>
          <p:spPr>
            <a:xfrm>
              <a:off x="7037149" y="2039148"/>
              <a:ext cx="198924" cy="245899"/>
            </a:xfrm>
            <a:custGeom>
              <a:avLst/>
              <a:gdLst>
                <a:gd name="connsiteX0" fmla="*/ 100835 w 198924"/>
                <a:gd name="connsiteY0" fmla="*/ 94856 h 245899"/>
                <a:gd name="connsiteX1" fmla="*/ 145039 w 198924"/>
                <a:gd name="connsiteY1" fmla="*/ 99922 h 245899"/>
                <a:gd name="connsiteX2" fmla="*/ 145039 w 198924"/>
                <a:gd name="connsiteY2" fmla="*/ 91633 h 245899"/>
                <a:gd name="connsiteX3" fmla="*/ 93466 w 198924"/>
                <a:gd name="connsiteY3" fmla="*/ 46047 h 245899"/>
                <a:gd name="connsiteX4" fmla="*/ 34064 w 198924"/>
                <a:gd name="connsiteY4" fmla="*/ 59402 h 245899"/>
                <a:gd name="connsiteX5" fmla="*/ 22090 w 198924"/>
                <a:gd name="connsiteY5" fmla="*/ 13356 h 245899"/>
                <a:gd name="connsiteX6" fmla="*/ 98993 w 198924"/>
                <a:gd name="connsiteY6" fmla="*/ 0 h 245899"/>
                <a:gd name="connsiteX7" fmla="*/ 198924 w 198924"/>
                <a:gd name="connsiteY7" fmla="*/ 90712 h 245899"/>
                <a:gd name="connsiteX8" fmla="*/ 198924 w 198924"/>
                <a:gd name="connsiteY8" fmla="*/ 240373 h 245899"/>
                <a:gd name="connsiteX9" fmla="*/ 146882 w 198924"/>
                <a:gd name="connsiteY9" fmla="*/ 240373 h 245899"/>
                <a:gd name="connsiteX10" fmla="*/ 146882 w 198924"/>
                <a:gd name="connsiteY10" fmla="*/ 215504 h 245899"/>
                <a:gd name="connsiteX11" fmla="*/ 145969 w 198924"/>
                <a:gd name="connsiteY11" fmla="*/ 215504 h 245899"/>
                <a:gd name="connsiteX12" fmla="*/ 77356 w 198924"/>
                <a:gd name="connsiteY12" fmla="*/ 245900 h 245899"/>
                <a:gd name="connsiteX13" fmla="*/ 0 w 198924"/>
                <a:gd name="connsiteY13" fmla="*/ 171299 h 245899"/>
                <a:gd name="connsiteX14" fmla="*/ 100835 w 198924"/>
                <a:gd name="connsiteY14" fmla="*/ 94856 h 245899"/>
                <a:gd name="connsiteX15" fmla="*/ 91624 w 198924"/>
                <a:gd name="connsiteY15" fmla="*/ 204919 h 245899"/>
                <a:gd name="connsiteX16" fmla="*/ 145039 w 198924"/>
                <a:gd name="connsiteY16" fmla="*/ 176834 h 245899"/>
                <a:gd name="connsiteX17" fmla="*/ 145039 w 198924"/>
                <a:gd name="connsiteY17" fmla="*/ 135845 h 245899"/>
                <a:gd name="connsiteX18" fmla="*/ 106823 w 198924"/>
                <a:gd name="connsiteY18" fmla="*/ 131240 h 245899"/>
                <a:gd name="connsiteX19" fmla="*/ 52486 w 198924"/>
                <a:gd name="connsiteY19" fmla="*/ 169918 h 245899"/>
                <a:gd name="connsiteX20" fmla="*/ 91624 w 198924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4" h="245899">
                  <a:moveTo>
                    <a:pt x="100835" y="94856"/>
                  </a:moveTo>
                  <a:cubicBezTo>
                    <a:pt x="116025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2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46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0" y="204919"/>
                    <a:pt x="129842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9" y="131240"/>
                    <a:pt x="106823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8" y="191563"/>
                    <a:pt x="67684" y="204919"/>
                    <a:pt x="91624" y="204919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623F20C0-5C72-4745-BADF-2EB5DE6FD209}"/>
                </a:ext>
              </a:extLst>
            </p:cNvPr>
            <p:cNvSpPr/>
            <p:nvPr/>
          </p:nvSpPr>
          <p:spPr>
            <a:xfrm>
              <a:off x="7305540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0 w 201695"/>
                <a:gd name="connsiteY1" fmla="*/ 240373 h 240373"/>
                <a:gd name="connsiteX2" fmla="*/ 146890 w 201695"/>
                <a:gd name="connsiteY2" fmla="*/ 106370 h 240373"/>
                <a:gd name="connsiteX3" fmla="*/ 103607 w 201695"/>
                <a:gd name="connsiteY3" fmla="*/ 49270 h 240373"/>
                <a:gd name="connsiteX4" fmla="*/ 54797 w 201695"/>
                <a:gd name="connsiteY4" fmla="*/ 105918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0" y="240373"/>
                  </a:lnTo>
                  <a:lnTo>
                    <a:pt x="146890" y="106370"/>
                  </a:lnTo>
                  <a:cubicBezTo>
                    <a:pt x="146890" y="72298"/>
                    <a:pt x="136767" y="49270"/>
                    <a:pt x="103607" y="49270"/>
                  </a:cubicBezTo>
                  <a:cubicBezTo>
                    <a:pt x="65390" y="49270"/>
                    <a:pt x="54797" y="80588"/>
                    <a:pt x="54797" y="105918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81B2BEC0-46F8-4083-986B-0DCD70E8F6DB}"/>
                </a:ext>
              </a:extLst>
            </p:cNvPr>
            <p:cNvSpPr/>
            <p:nvPr/>
          </p:nvSpPr>
          <p:spPr>
            <a:xfrm>
              <a:off x="7565198" y="1936931"/>
              <a:ext cx="219195" cy="348116"/>
            </a:xfrm>
            <a:custGeom>
              <a:avLst/>
              <a:gdLst>
                <a:gd name="connsiteX0" fmla="*/ 0 w 219195"/>
                <a:gd name="connsiteY0" fmla="*/ 224706 h 348116"/>
                <a:gd name="connsiteX1" fmla="*/ 95325 w 219195"/>
                <a:gd name="connsiteY1" fmla="*/ 102217 h 348116"/>
                <a:gd name="connsiteX2" fmla="*/ 163478 w 219195"/>
                <a:gd name="connsiteY2" fmla="*/ 133986 h 348116"/>
                <a:gd name="connsiteX3" fmla="*/ 164399 w 219195"/>
                <a:gd name="connsiteY3" fmla="*/ 133986 h 348116"/>
                <a:gd name="connsiteX4" fmla="*/ 164399 w 219195"/>
                <a:gd name="connsiteY4" fmla="*/ 13808 h 348116"/>
                <a:gd name="connsiteX5" fmla="*/ 219196 w 219195"/>
                <a:gd name="connsiteY5" fmla="*/ 0 h 348116"/>
                <a:gd name="connsiteX6" fmla="*/ 219196 w 219195"/>
                <a:gd name="connsiteY6" fmla="*/ 342590 h 348116"/>
                <a:gd name="connsiteX7" fmla="*/ 165781 w 219195"/>
                <a:gd name="connsiteY7" fmla="*/ 342590 h 348116"/>
                <a:gd name="connsiteX8" fmla="*/ 165781 w 219195"/>
                <a:gd name="connsiteY8" fmla="*/ 314957 h 348116"/>
                <a:gd name="connsiteX9" fmla="*/ 164859 w 219195"/>
                <a:gd name="connsiteY9" fmla="*/ 314957 h 348116"/>
                <a:gd name="connsiteX10" fmla="*/ 94404 w 219195"/>
                <a:gd name="connsiteY10" fmla="*/ 348117 h 348116"/>
                <a:gd name="connsiteX11" fmla="*/ 0 w 219195"/>
                <a:gd name="connsiteY11" fmla="*/ 224706 h 348116"/>
                <a:gd name="connsiteX12" fmla="*/ 54336 w 219195"/>
                <a:gd name="connsiteY12" fmla="*/ 224706 h 348116"/>
                <a:gd name="connsiteX13" fmla="*/ 108673 w 219195"/>
                <a:gd name="connsiteY13" fmla="*/ 299767 h 348116"/>
                <a:gd name="connsiteX14" fmla="*/ 164391 w 219195"/>
                <a:gd name="connsiteY14" fmla="*/ 268911 h 348116"/>
                <a:gd name="connsiteX15" fmla="*/ 164391 w 219195"/>
                <a:gd name="connsiteY15" fmla="*/ 183265 h 348116"/>
                <a:gd name="connsiteX16" fmla="*/ 108673 w 219195"/>
                <a:gd name="connsiteY16" fmla="*/ 151956 h 348116"/>
                <a:gd name="connsiteX17" fmla="*/ 54336 w 219195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5" h="348116">
                  <a:moveTo>
                    <a:pt x="0" y="224706"/>
                  </a:moveTo>
                  <a:cubicBezTo>
                    <a:pt x="0" y="149185"/>
                    <a:pt x="38217" y="102217"/>
                    <a:pt x="95325" y="102217"/>
                  </a:cubicBezTo>
                  <a:cubicBezTo>
                    <a:pt x="124800" y="102217"/>
                    <a:pt x="147828" y="114643"/>
                    <a:pt x="163478" y="133986"/>
                  </a:cubicBezTo>
                  <a:lnTo>
                    <a:pt x="164399" y="133986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0"/>
                  </a:lnTo>
                  <a:lnTo>
                    <a:pt x="165781" y="342590"/>
                  </a:lnTo>
                  <a:lnTo>
                    <a:pt x="165781" y="314957"/>
                  </a:lnTo>
                  <a:lnTo>
                    <a:pt x="164859" y="314957"/>
                  </a:lnTo>
                  <a:cubicBezTo>
                    <a:pt x="147828" y="335682"/>
                    <a:pt x="123418" y="348117"/>
                    <a:pt x="94404" y="348117"/>
                  </a:cubicBezTo>
                  <a:cubicBezTo>
                    <a:pt x="38686" y="348117"/>
                    <a:pt x="0" y="300689"/>
                    <a:pt x="0" y="224706"/>
                  </a:cubicBezTo>
                  <a:close/>
                  <a:moveTo>
                    <a:pt x="54336" y="224706"/>
                  </a:moveTo>
                  <a:cubicBezTo>
                    <a:pt x="54336" y="272595"/>
                    <a:pt x="74140" y="299767"/>
                    <a:pt x="108673" y="299767"/>
                  </a:cubicBezTo>
                  <a:cubicBezTo>
                    <a:pt x="129850" y="299767"/>
                    <a:pt x="147351" y="289635"/>
                    <a:pt x="164391" y="268911"/>
                  </a:cubicBezTo>
                  <a:lnTo>
                    <a:pt x="164391" y="183265"/>
                  </a:lnTo>
                  <a:cubicBezTo>
                    <a:pt x="148733" y="162088"/>
                    <a:pt x="130771" y="151956"/>
                    <a:pt x="108673" y="151956"/>
                  </a:cubicBezTo>
                  <a:cubicBezTo>
                    <a:pt x="73219" y="151956"/>
                    <a:pt x="54336" y="177739"/>
                    <a:pt x="54336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A81ACECC-FB3B-4FA3-9E6E-79B4642A0158}"/>
                </a:ext>
              </a:extLst>
            </p:cNvPr>
            <p:cNvSpPr/>
            <p:nvPr/>
          </p:nvSpPr>
          <p:spPr>
            <a:xfrm>
              <a:off x="7843881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89 w 214130"/>
                <a:gd name="connsiteY10" fmla="*/ 101765 h 245899"/>
                <a:gd name="connsiteX11" fmla="*/ 161160 w 214130"/>
                <a:gd name="connsiteY11" fmla="*/ 101765 h 245899"/>
                <a:gd name="connsiteX12" fmla="*/ 109125 w 214130"/>
                <a:gd name="connsiteY12" fmla="*/ 45126 h 245899"/>
                <a:gd name="connsiteX13" fmla="*/ 54789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23" y="233465"/>
                    <a:pt x="151496" y="245900"/>
                    <a:pt x="116034" y="245900"/>
                  </a:cubicBezTo>
                  <a:close/>
                  <a:moveTo>
                    <a:pt x="54789" y="101765"/>
                  </a:moveTo>
                  <a:lnTo>
                    <a:pt x="161160" y="101765"/>
                  </a:lnTo>
                  <a:cubicBezTo>
                    <a:pt x="158857" y="65850"/>
                    <a:pt x="139982" y="45126"/>
                    <a:pt x="109125" y="45126"/>
                  </a:cubicBezTo>
                  <a:cubicBezTo>
                    <a:pt x="78738" y="45134"/>
                    <a:pt x="59394" y="65390"/>
                    <a:pt x="54789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39689E31-9B66-44E7-B47F-C666C38FB7EF}"/>
                </a:ext>
              </a:extLst>
            </p:cNvPr>
            <p:cNvSpPr/>
            <p:nvPr/>
          </p:nvSpPr>
          <p:spPr>
            <a:xfrm>
              <a:off x="8117849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86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801" y="56631"/>
                    <a:pt x="114668" y="53868"/>
                    <a:pt x="102686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8" y="35454"/>
                  </a:lnTo>
                  <a:cubicBezTo>
                    <a:pt x="67224" y="13348"/>
                    <a:pt x="89330" y="0"/>
                    <a:pt x="116042" y="0"/>
                  </a:cubicBezTo>
                  <a:cubicBezTo>
                    <a:pt x="123871" y="-8"/>
                    <a:pt x="133534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E38D45FB-93D8-44DA-AE4F-CA723C7C76CB}"/>
                </a:ext>
              </a:extLst>
            </p:cNvPr>
            <p:cNvSpPr/>
            <p:nvPr/>
          </p:nvSpPr>
          <p:spPr>
            <a:xfrm>
              <a:off x="8293771" y="2109603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F690CF57-2C49-4051-84D6-F1216B22B26E}"/>
                </a:ext>
              </a:extLst>
            </p:cNvPr>
            <p:cNvSpPr/>
            <p:nvPr/>
          </p:nvSpPr>
          <p:spPr>
            <a:xfrm>
              <a:off x="8478811" y="1955336"/>
              <a:ext cx="253268" cy="329711"/>
            </a:xfrm>
            <a:custGeom>
              <a:avLst/>
              <a:gdLst>
                <a:gd name="connsiteX0" fmla="*/ 253268 w 253268"/>
                <a:gd name="connsiteY0" fmla="*/ 195708 h 329711"/>
                <a:gd name="connsiteX1" fmla="*/ 126174 w 253268"/>
                <a:gd name="connsiteY1" fmla="*/ 329712 h 329711"/>
                <a:gd name="connsiteX2" fmla="*/ 0 w 253268"/>
                <a:gd name="connsiteY2" fmla="*/ 195708 h 329711"/>
                <a:gd name="connsiteX3" fmla="*/ 0 w 253268"/>
                <a:gd name="connsiteY3" fmla="*/ 0 h 329711"/>
                <a:gd name="connsiteX4" fmla="*/ 58941 w 253268"/>
                <a:gd name="connsiteY4" fmla="*/ 0 h 329711"/>
                <a:gd name="connsiteX5" fmla="*/ 58941 w 253268"/>
                <a:gd name="connsiteY5" fmla="*/ 192485 h 329711"/>
                <a:gd name="connsiteX6" fmla="*/ 128016 w 253268"/>
                <a:gd name="connsiteY6" fmla="*/ 274446 h 329711"/>
                <a:gd name="connsiteX7" fmla="*/ 194795 w 253268"/>
                <a:gd name="connsiteY7" fmla="*/ 192485 h 329711"/>
                <a:gd name="connsiteX8" fmla="*/ 194795 w 253268"/>
                <a:gd name="connsiteY8" fmla="*/ 0 h 329711"/>
                <a:gd name="connsiteX9" fmla="*/ 253268 w 253268"/>
                <a:gd name="connsiteY9" fmla="*/ 0 h 329711"/>
                <a:gd name="connsiteX10" fmla="*/ 253268 w 253268"/>
                <a:gd name="connsiteY10" fmla="*/ 195708 h 32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268" h="329711">
                  <a:moveTo>
                    <a:pt x="253268" y="195708"/>
                  </a:moveTo>
                  <a:cubicBezTo>
                    <a:pt x="253268" y="273993"/>
                    <a:pt x="213209" y="329712"/>
                    <a:pt x="126174" y="329712"/>
                  </a:cubicBezTo>
                  <a:cubicBezTo>
                    <a:pt x="39599" y="329712"/>
                    <a:pt x="0" y="274446"/>
                    <a:pt x="0" y="195708"/>
                  </a:cubicBezTo>
                  <a:lnTo>
                    <a:pt x="0" y="0"/>
                  </a:lnTo>
                  <a:lnTo>
                    <a:pt x="58941" y="0"/>
                  </a:lnTo>
                  <a:lnTo>
                    <a:pt x="58941" y="192485"/>
                  </a:lnTo>
                  <a:cubicBezTo>
                    <a:pt x="58941" y="241294"/>
                    <a:pt x="80127" y="274446"/>
                    <a:pt x="128016" y="274446"/>
                  </a:cubicBezTo>
                  <a:cubicBezTo>
                    <a:pt x="175913" y="274446"/>
                    <a:pt x="194795" y="241755"/>
                    <a:pt x="194795" y="192485"/>
                  </a:cubicBezTo>
                  <a:lnTo>
                    <a:pt x="194795" y="0"/>
                  </a:lnTo>
                  <a:lnTo>
                    <a:pt x="253268" y="0"/>
                  </a:lnTo>
                  <a:lnTo>
                    <a:pt x="253268" y="19570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9FC1199D-1BE6-423F-ADAC-1B7CBAF1DB91}"/>
                </a:ext>
              </a:extLst>
            </p:cNvPr>
            <p:cNvSpPr/>
            <p:nvPr/>
          </p:nvSpPr>
          <p:spPr>
            <a:xfrm>
              <a:off x="8804838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8 w 201695"/>
                <a:gd name="connsiteY1" fmla="*/ 240373 h 240373"/>
                <a:gd name="connsiteX2" fmla="*/ 146898 w 201695"/>
                <a:gd name="connsiteY2" fmla="*/ 106370 h 240373"/>
                <a:gd name="connsiteX3" fmla="*/ 103607 w 201695"/>
                <a:gd name="connsiteY3" fmla="*/ 49270 h 240373"/>
                <a:gd name="connsiteX4" fmla="*/ 54798 w 201695"/>
                <a:gd name="connsiteY4" fmla="*/ 105918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8" y="240373"/>
                  </a:lnTo>
                  <a:lnTo>
                    <a:pt x="146898" y="106370"/>
                  </a:lnTo>
                  <a:cubicBezTo>
                    <a:pt x="146898" y="72298"/>
                    <a:pt x="136767" y="49270"/>
                    <a:pt x="103607" y="49270"/>
                  </a:cubicBezTo>
                  <a:cubicBezTo>
                    <a:pt x="65390" y="49270"/>
                    <a:pt x="54798" y="80588"/>
                    <a:pt x="54798" y="105918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E7191C5F-FC93-4748-9A11-EDA7A6612882}"/>
                </a:ext>
              </a:extLst>
            </p:cNvPr>
            <p:cNvSpPr/>
            <p:nvPr/>
          </p:nvSpPr>
          <p:spPr>
            <a:xfrm>
              <a:off x="9068273" y="1941059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2 w 69534"/>
                <a:gd name="connsiteY1" fmla="*/ 66311 h 338461"/>
                <a:gd name="connsiteX2" fmla="*/ 0 w 69534"/>
                <a:gd name="connsiteY2" fmla="*/ 33160 h 338461"/>
                <a:gd name="connsiteX3" fmla="*/ 34532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2" y="66311"/>
                  </a:cubicBezTo>
                  <a:cubicBezTo>
                    <a:pt x="15649" y="66311"/>
                    <a:pt x="0" y="52503"/>
                    <a:pt x="0" y="33160"/>
                  </a:cubicBezTo>
                  <a:cubicBezTo>
                    <a:pt x="0" y="14277"/>
                    <a:pt x="15649" y="0"/>
                    <a:pt x="34532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4361EF3F-FE70-4257-87A6-E598180320B3}"/>
                </a:ext>
              </a:extLst>
            </p:cNvPr>
            <p:cNvSpPr/>
            <p:nvPr/>
          </p:nvSpPr>
          <p:spPr>
            <a:xfrm>
              <a:off x="9176921" y="2045135"/>
              <a:ext cx="227478" cy="234386"/>
            </a:xfrm>
            <a:custGeom>
              <a:avLst/>
              <a:gdLst>
                <a:gd name="connsiteX0" fmla="*/ 227478 w 227478"/>
                <a:gd name="connsiteY0" fmla="*/ 0 h 234386"/>
                <a:gd name="connsiteX1" fmla="*/ 142284 w 227478"/>
                <a:gd name="connsiteY1" fmla="*/ 234386 h 234386"/>
                <a:gd name="connsiteX2" fmla="*/ 85185 w 227478"/>
                <a:gd name="connsiteY2" fmla="*/ 234386 h 234386"/>
                <a:gd name="connsiteX3" fmla="*/ 0 w 227478"/>
                <a:gd name="connsiteY3" fmla="*/ 0 h 234386"/>
                <a:gd name="connsiteX4" fmla="*/ 60323 w 227478"/>
                <a:gd name="connsiteY4" fmla="*/ 0 h 234386"/>
                <a:gd name="connsiteX5" fmla="*/ 114199 w 227478"/>
                <a:gd name="connsiteY5" fmla="*/ 170387 h 234386"/>
                <a:gd name="connsiteX6" fmla="*/ 115120 w 227478"/>
                <a:gd name="connsiteY6" fmla="*/ 170387 h 234386"/>
                <a:gd name="connsiteX7" fmla="*/ 168997 w 227478"/>
                <a:gd name="connsiteY7" fmla="*/ 0 h 234386"/>
                <a:gd name="connsiteX8" fmla="*/ 227478 w 227478"/>
                <a:gd name="connsiteY8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78" h="234386">
                  <a:moveTo>
                    <a:pt x="227478" y="0"/>
                  </a:moveTo>
                  <a:lnTo>
                    <a:pt x="142284" y="234386"/>
                  </a:lnTo>
                  <a:lnTo>
                    <a:pt x="85185" y="234386"/>
                  </a:lnTo>
                  <a:lnTo>
                    <a:pt x="0" y="0"/>
                  </a:lnTo>
                  <a:lnTo>
                    <a:pt x="60323" y="0"/>
                  </a:lnTo>
                  <a:lnTo>
                    <a:pt x="114199" y="170387"/>
                  </a:lnTo>
                  <a:lnTo>
                    <a:pt x="115120" y="170387"/>
                  </a:lnTo>
                  <a:lnTo>
                    <a:pt x="168997" y="0"/>
                  </a:lnTo>
                  <a:lnTo>
                    <a:pt x="227478" y="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C6AB41A3-EE45-4F8B-8561-4F2BFDDA1013}"/>
                </a:ext>
              </a:extLst>
            </p:cNvPr>
            <p:cNvSpPr/>
            <p:nvPr/>
          </p:nvSpPr>
          <p:spPr>
            <a:xfrm>
              <a:off x="9429904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27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8 w 214130"/>
                <a:gd name="connsiteY10" fmla="*/ 101765 h 245899"/>
                <a:gd name="connsiteX11" fmla="*/ 161168 w 214130"/>
                <a:gd name="connsiteY11" fmla="*/ 101765 h 245899"/>
                <a:gd name="connsiteX12" fmla="*/ 109134 w 214130"/>
                <a:gd name="connsiteY12" fmla="*/ 45126 h 245899"/>
                <a:gd name="connsiteX13" fmla="*/ 5479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500" y="245900"/>
                    <a:pt x="0" y="196621"/>
                    <a:pt x="0" y="122489"/>
                  </a:cubicBezTo>
                  <a:cubicBezTo>
                    <a:pt x="0" y="49739"/>
                    <a:pt x="44666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27" y="141824"/>
                  </a:lnTo>
                  <a:cubicBezTo>
                    <a:pt x="61714" y="178208"/>
                    <a:pt x="83352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31" y="233465"/>
                    <a:pt x="151488" y="245900"/>
                    <a:pt x="116034" y="245900"/>
                  </a:cubicBezTo>
                  <a:close/>
                  <a:moveTo>
                    <a:pt x="54798" y="101765"/>
                  </a:moveTo>
                  <a:lnTo>
                    <a:pt x="161168" y="101765"/>
                  </a:lnTo>
                  <a:cubicBezTo>
                    <a:pt x="158873" y="65850"/>
                    <a:pt x="139990" y="45126"/>
                    <a:pt x="109134" y="45126"/>
                  </a:cubicBezTo>
                  <a:cubicBezTo>
                    <a:pt x="78738" y="45134"/>
                    <a:pt x="59394" y="65390"/>
                    <a:pt x="54798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3FC3A2DF-C2B1-4B25-B534-F5E1D59A3F0F}"/>
                </a:ext>
              </a:extLst>
            </p:cNvPr>
            <p:cNvSpPr/>
            <p:nvPr/>
          </p:nvSpPr>
          <p:spPr>
            <a:xfrm>
              <a:off x="9703872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94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7 w 141832"/>
                <a:gd name="connsiteY7" fmla="*/ 5979 h 240364"/>
                <a:gd name="connsiteX8" fmla="*/ 53877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793" y="56631"/>
                    <a:pt x="114669" y="53868"/>
                    <a:pt x="102694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7" y="5979"/>
                  </a:lnTo>
                  <a:lnTo>
                    <a:pt x="53877" y="35454"/>
                  </a:lnTo>
                  <a:lnTo>
                    <a:pt x="54798" y="35454"/>
                  </a:lnTo>
                  <a:cubicBezTo>
                    <a:pt x="67224" y="13348"/>
                    <a:pt x="89331" y="0"/>
                    <a:pt x="116042" y="0"/>
                  </a:cubicBezTo>
                  <a:cubicBezTo>
                    <a:pt x="123872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E566DD13-4817-4C91-96FC-CBC0466BB0D8}"/>
                </a:ext>
              </a:extLst>
            </p:cNvPr>
            <p:cNvSpPr/>
            <p:nvPr/>
          </p:nvSpPr>
          <p:spPr>
            <a:xfrm>
              <a:off x="9871287" y="2039148"/>
              <a:ext cx="180510" cy="245891"/>
            </a:xfrm>
            <a:custGeom>
              <a:avLst/>
              <a:gdLst>
                <a:gd name="connsiteX0" fmla="*/ 26234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2 h 245891"/>
                <a:gd name="connsiteX11" fmla="*/ 0 w 180510"/>
                <a:gd name="connsiteY11" fmla="*/ 217337 h 245891"/>
                <a:gd name="connsiteX12" fmla="*/ 26234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4" y="174063"/>
                  </a:moveTo>
                  <a:cubicBezTo>
                    <a:pt x="49261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82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2"/>
                    <a:pt x="90251" y="245892"/>
                  </a:cubicBezTo>
                  <a:cubicBezTo>
                    <a:pt x="58941" y="245892"/>
                    <a:pt x="27172" y="236220"/>
                    <a:pt x="0" y="217337"/>
                  </a:cubicBezTo>
                  <a:lnTo>
                    <a:pt x="26234" y="1740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821DC2DB-ABD3-4652-A841-4D1E6F29828B}"/>
                </a:ext>
              </a:extLst>
            </p:cNvPr>
            <p:cNvSpPr/>
            <p:nvPr/>
          </p:nvSpPr>
          <p:spPr>
            <a:xfrm>
              <a:off x="10103018" y="1941059"/>
              <a:ext cx="69535" cy="338461"/>
            </a:xfrm>
            <a:custGeom>
              <a:avLst/>
              <a:gdLst>
                <a:gd name="connsiteX0" fmla="*/ 69535 w 69535"/>
                <a:gd name="connsiteY0" fmla="*/ 33160 h 338461"/>
                <a:gd name="connsiteX1" fmla="*/ 34533 w 69535"/>
                <a:gd name="connsiteY1" fmla="*/ 66311 h 338461"/>
                <a:gd name="connsiteX2" fmla="*/ 0 w 69535"/>
                <a:gd name="connsiteY2" fmla="*/ 33160 h 338461"/>
                <a:gd name="connsiteX3" fmla="*/ 34533 w 69535"/>
                <a:gd name="connsiteY3" fmla="*/ 0 h 338461"/>
                <a:gd name="connsiteX4" fmla="*/ 69535 w 69535"/>
                <a:gd name="connsiteY4" fmla="*/ 33160 h 338461"/>
                <a:gd name="connsiteX5" fmla="*/ 62166 w 69535"/>
                <a:gd name="connsiteY5" fmla="*/ 338462 h 338461"/>
                <a:gd name="connsiteX6" fmla="*/ 7369 w 69535"/>
                <a:gd name="connsiteY6" fmla="*/ 338462 h 338461"/>
                <a:gd name="connsiteX7" fmla="*/ 7369 w 69535"/>
                <a:gd name="connsiteY7" fmla="*/ 104076 h 338461"/>
                <a:gd name="connsiteX8" fmla="*/ 62166 w 69535"/>
                <a:gd name="connsiteY8" fmla="*/ 104076 h 338461"/>
                <a:gd name="connsiteX9" fmla="*/ 62166 w 69535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5" h="338461">
                  <a:moveTo>
                    <a:pt x="69535" y="33160"/>
                  </a:moveTo>
                  <a:cubicBezTo>
                    <a:pt x="69535" y="52503"/>
                    <a:pt x="53877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7" y="0"/>
                    <a:pt x="69535" y="14277"/>
                    <a:pt x="69535" y="33160"/>
                  </a:cubicBezTo>
                  <a:close/>
                  <a:moveTo>
                    <a:pt x="62166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6" y="104076"/>
                  </a:lnTo>
                  <a:lnTo>
                    <a:pt x="62166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2A137A4D-DCD1-498A-9B30-BA8A264D1628}"/>
                </a:ext>
              </a:extLst>
            </p:cNvPr>
            <p:cNvSpPr/>
            <p:nvPr/>
          </p:nvSpPr>
          <p:spPr>
            <a:xfrm>
              <a:off x="10211675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67736D99-481F-43E1-A439-6D53814FD4AF}"/>
                </a:ext>
              </a:extLst>
            </p:cNvPr>
            <p:cNvSpPr/>
            <p:nvPr/>
          </p:nvSpPr>
          <p:spPr>
            <a:xfrm>
              <a:off x="10400449" y="1944744"/>
              <a:ext cx="198923" cy="340304"/>
            </a:xfrm>
            <a:custGeom>
              <a:avLst/>
              <a:gdLst>
                <a:gd name="connsiteX0" fmla="*/ 100835 w 198923"/>
                <a:gd name="connsiteY0" fmla="*/ 189261 h 340304"/>
                <a:gd name="connsiteX1" fmla="*/ 145040 w 198923"/>
                <a:gd name="connsiteY1" fmla="*/ 194327 h 340304"/>
                <a:gd name="connsiteX2" fmla="*/ 145040 w 198923"/>
                <a:gd name="connsiteY2" fmla="*/ 186037 h 340304"/>
                <a:gd name="connsiteX3" fmla="*/ 93466 w 198923"/>
                <a:gd name="connsiteY3" fmla="*/ 140451 h 340304"/>
                <a:gd name="connsiteX4" fmla="*/ 34064 w 198923"/>
                <a:gd name="connsiteY4" fmla="*/ 153807 h 340304"/>
                <a:gd name="connsiteX5" fmla="*/ 22090 w 198923"/>
                <a:gd name="connsiteY5" fmla="*/ 107760 h 340304"/>
                <a:gd name="connsiteX6" fmla="*/ 98993 w 198923"/>
                <a:gd name="connsiteY6" fmla="*/ 94404 h 340304"/>
                <a:gd name="connsiteX7" fmla="*/ 198924 w 198923"/>
                <a:gd name="connsiteY7" fmla="*/ 185116 h 340304"/>
                <a:gd name="connsiteX8" fmla="*/ 198924 w 198923"/>
                <a:gd name="connsiteY8" fmla="*/ 334778 h 340304"/>
                <a:gd name="connsiteX9" fmla="*/ 146882 w 198923"/>
                <a:gd name="connsiteY9" fmla="*/ 334778 h 340304"/>
                <a:gd name="connsiteX10" fmla="*/ 146882 w 198923"/>
                <a:gd name="connsiteY10" fmla="*/ 309908 h 340304"/>
                <a:gd name="connsiteX11" fmla="*/ 145969 w 198923"/>
                <a:gd name="connsiteY11" fmla="*/ 309908 h 340304"/>
                <a:gd name="connsiteX12" fmla="*/ 77356 w 198923"/>
                <a:gd name="connsiteY12" fmla="*/ 340304 h 340304"/>
                <a:gd name="connsiteX13" fmla="*/ 0 w 198923"/>
                <a:gd name="connsiteY13" fmla="*/ 265703 h 340304"/>
                <a:gd name="connsiteX14" fmla="*/ 100835 w 198923"/>
                <a:gd name="connsiteY14" fmla="*/ 189261 h 340304"/>
                <a:gd name="connsiteX15" fmla="*/ 56170 w 198923"/>
                <a:gd name="connsiteY15" fmla="*/ 64008 h 340304"/>
                <a:gd name="connsiteX16" fmla="*/ 23480 w 198923"/>
                <a:gd name="connsiteY16" fmla="*/ 32238 h 340304"/>
                <a:gd name="connsiteX17" fmla="*/ 56170 w 198923"/>
                <a:gd name="connsiteY17" fmla="*/ 0 h 340304"/>
                <a:gd name="connsiteX18" fmla="*/ 88861 w 198923"/>
                <a:gd name="connsiteY18" fmla="*/ 32238 h 340304"/>
                <a:gd name="connsiteX19" fmla="*/ 56170 w 198923"/>
                <a:gd name="connsiteY19" fmla="*/ 64008 h 340304"/>
                <a:gd name="connsiteX20" fmla="*/ 91624 w 198923"/>
                <a:gd name="connsiteY20" fmla="*/ 299324 h 340304"/>
                <a:gd name="connsiteX21" fmla="*/ 145040 w 198923"/>
                <a:gd name="connsiteY21" fmla="*/ 271238 h 340304"/>
                <a:gd name="connsiteX22" fmla="*/ 145040 w 198923"/>
                <a:gd name="connsiteY22" fmla="*/ 230250 h 340304"/>
                <a:gd name="connsiteX23" fmla="*/ 106823 w 198923"/>
                <a:gd name="connsiteY23" fmla="*/ 225644 h 340304"/>
                <a:gd name="connsiteX24" fmla="*/ 52486 w 198923"/>
                <a:gd name="connsiteY24" fmla="*/ 264322 h 340304"/>
                <a:gd name="connsiteX25" fmla="*/ 91624 w 198923"/>
                <a:gd name="connsiteY25" fmla="*/ 299324 h 340304"/>
                <a:gd name="connsiteX26" fmla="*/ 151948 w 198923"/>
                <a:gd name="connsiteY26" fmla="*/ 64008 h 340304"/>
                <a:gd name="connsiteX27" fmla="*/ 119258 w 198923"/>
                <a:gd name="connsiteY27" fmla="*/ 32238 h 340304"/>
                <a:gd name="connsiteX28" fmla="*/ 151948 w 198923"/>
                <a:gd name="connsiteY28" fmla="*/ 0 h 340304"/>
                <a:gd name="connsiteX29" fmla="*/ 184639 w 198923"/>
                <a:gd name="connsiteY29" fmla="*/ 32238 h 340304"/>
                <a:gd name="connsiteX30" fmla="*/ 151948 w 198923"/>
                <a:gd name="connsiteY30" fmla="*/ 64008 h 3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923" h="340304">
                  <a:moveTo>
                    <a:pt x="100835" y="189261"/>
                  </a:moveTo>
                  <a:cubicBezTo>
                    <a:pt x="116026" y="189261"/>
                    <a:pt x="129851" y="190182"/>
                    <a:pt x="145040" y="194327"/>
                  </a:cubicBezTo>
                  <a:lnTo>
                    <a:pt x="145040" y="186037"/>
                  </a:lnTo>
                  <a:cubicBezTo>
                    <a:pt x="145040" y="156109"/>
                    <a:pt x="127539" y="140451"/>
                    <a:pt x="93466" y="140451"/>
                  </a:cubicBezTo>
                  <a:cubicBezTo>
                    <a:pt x="74584" y="140451"/>
                    <a:pt x="53407" y="145056"/>
                    <a:pt x="34064" y="153807"/>
                  </a:cubicBezTo>
                  <a:lnTo>
                    <a:pt x="22090" y="107760"/>
                  </a:lnTo>
                  <a:cubicBezTo>
                    <a:pt x="43727" y="99470"/>
                    <a:pt x="72282" y="94404"/>
                    <a:pt x="98993" y="94404"/>
                  </a:cubicBezTo>
                  <a:cubicBezTo>
                    <a:pt x="164844" y="94404"/>
                    <a:pt x="198924" y="125261"/>
                    <a:pt x="198924" y="185116"/>
                  </a:cubicBezTo>
                  <a:lnTo>
                    <a:pt x="198924" y="334778"/>
                  </a:lnTo>
                  <a:lnTo>
                    <a:pt x="146882" y="334778"/>
                  </a:lnTo>
                  <a:lnTo>
                    <a:pt x="146882" y="309908"/>
                  </a:lnTo>
                  <a:lnTo>
                    <a:pt x="145969" y="309908"/>
                  </a:lnTo>
                  <a:cubicBezTo>
                    <a:pt x="125705" y="330633"/>
                    <a:pt x="104528" y="340304"/>
                    <a:pt x="77356" y="340304"/>
                  </a:cubicBezTo>
                  <a:cubicBezTo>
                    <a:pt x="30388" y="340304"/>
                    <a:pt x="0" y="311290"/>
                    <a:pt x="0" y="265703"/>
                  </a:cubicBezTo>
                  <a:cubicBezTo>
                    <a:pt x="-8" y="215973"/>
                    <a:pt x="35446" y="189261"/>
                    <a:pt x="100835" y="189261"/>
                  </a:cubicBezTo>
                  <a:close/>
                  <a:moveTo>
                    <a:pt x="56170" y="64008"/>
                  </a:moveTo>
                  <a:cubicBezTo>
                    <a:pt x="38670" y="64008"/>
                    <a:pt x="23480" y="49270"/>
                    <a:pt x="23480" y="32238"/>
                  </a:cubicBezTo>
                  <a:cubicBezTo>
                    <a:pt x="23480" y="15198"/>
                    <a:pt x="38670" y="0"/>
                    <a:pt x="56170" y="0"/>
                  </a:cubicBezTo>
                  <a:cubicBezTo>
                    <a:pt x="73671" y="0"/>
                    <a:pt x="88861" y="15190"/>
                    <a:pt x="88861" y="32238"/>
                  </a:cubicBezTo>
                  <a:cubicBezTo>
                    <a:pt x="88861" y="49270"/>
                    <a:pt x="73671" y="64008"/>
                    <a:pt x="56170" y="64008"/>
                  </a:cubicBezTo>
                  <a:close/>
                  <a:moveTo>
                    <a:pt x="91624" y="299324"/>
                  </a:moveTo>
                  <a:cubicBezTo>
                    <a:pt x="111420" y="299324"/>
                    <a:pt x="129841" y="289652"/>
                    <a:pt x="145040" y="271238"/>
                  </a:cubicBezTo>
                  <a:lnTo>
                    <a:pt x="145040" y="230250"/>
                  </a:lnTo>
                  <a:cubicBezTo>
                    <a:pt x="132144" y="227026"/>
                    <a:pt x="118789" y="225644"/>
                    <a:pt x="106823" y="225644"/>
                  </a:cubicBezTo>
                  <a:cubicBezTo>
                    <a:pt x="72290" y="225644"/>
                    <a:pt x="52486" y="239452"/>
                    <a:pt x="52486" y="264322"/>
                  </a:cubicBezTo>
                  <a:cubicBezTo>
                    <a:pt x="52477" y="285968"/>
                    <a:pt x="67684" y="299324"/>
                    <a:pt x="91624" y="299324"/>
                  </a:cubicBezTo>
                  <a:close/>
                  <a:moveTo>
                    <a:pt x="151948" y="64008"/>
                  </a:moveTo>
                  <a:cubicBezTo>
                    <a:pt x="134447" y="64008"/>
                    <a:pt x="119258" y="49270"/>
                    <a:pt x="119258" y="32238"/>
                  </a:cubicBezTo>
                  <a:cubicBezTo>
                    <a:pt x="119258" y="15198"/>
                    <a:pt x="134447" y="0"/>
                    <a:pt x="151948" y="0"/>
                  </a:cubicBezTo>
                  <a:cubicBezTo>
                    <a:pt x="169448" y="0"/>
                    <a:pt x="184639" y="15190"/>
                    <a:pt x="184639" y="32238"/>
                  </a:cubicBezTo>
                  <a:cubicBezTo>
                    <a:pt x="184647" y="49270"/>
                    <a:pt x="169448" y="64008"/>
                    <a:pt x="151948" y="6400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05A64505-32AC-4527-AEA0-AB1174EA690E}"/>
                </a:ext>
              </a:extLst>
            </p:cNvPr>
            <p:cNvSpPr/>
            <p:nvPr/>
          </p:nvSpPr>
          <p:spPr>
            <a:xfrm>
              <a:off x="10641954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6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C65FFDEA-1A26-4BE3-A84A-5A46C9E7B5FE}"/>
                </a:ext>
              </a:extLst>
            </p:cNvPr>
            <p:cNvSpPr/>
            <p:nvPr/>
          </p:nvSpPr>
          <p:spPr>
            <a:xfrm>
              <a:off x="4034676" y="2461949"/>
              <a:ext cx="203537" cy="324184"/>
            </a:xfrm>
            <a:custGeom>
              <a:avLst/>
              <a:gdLst>
                <a:gd name="connsiteX0" fmla="*/ 203538 w 203537"/>
                <a:gd name="connsiteY0" fmla="*/ 52955 h 324184"/>
                <a:gd name="connsiteX1" fmla="*/ 57561 w 203537"/>
                <a:gd name="connsiteY1" fmla="*/ 52955 h 324184"/>
                <a:gd name="connsiteX2" fmla="*/ 57561 w 203537"/>
                <a:gd name="connsiteY2" fmla="*/ 133543 h 324184"/>
                <a:gd name="connsiteX3" fmla="*/ 166694 w 203537"/>
                <a:gd name="connsiteY3" fmla="*/ 133543 h 324184"/>
                <a:gd name="connsiteX4" fmla="*/ 166694 w 203537"/>
                <a:gd name="connsiteY4" fmla="*/ 186037 h 324184"/>
                <a:gd name="connsiteX5" fmla="*/ 57561 w 203537"/>
                <a:gd name="connsiteY5" fmla="*/ 186037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55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55"/>
                  </a:moveTo>
                  <a:lnTo>
                    <a:pt x="57561" y="52955"/>
                  </a:lnTo>
                  <a:lnTo>
                    <a:pt x="57561" y="133543"/>
                  </a:lnTo>
                  <a:lnTo>
                    <a:pt x="166694" y="133543"/>
                  </a:lnTo>
                  <a:lnTo>
                    <a:pt x="166694" y="186037"/>
                  </a:lnTo>
                  <a:lnTo>
                    <a:pt x="57561" y="186037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5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CFC9BF65-D528-4810-BC56-4CD8988DC0C8}"/>
                </a:ext>
              </a:extLst>
            </p:cNvPr>
            <p:cNvSpPr/>
            <p:nvPr/>
          </p:nvSpPr>
          <p:spPr>
            <a:xfrm>
              <a:off x="4248564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94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5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7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52" y="132621"/>
                    <a:pt x="118796" y="131240"/>
                    <a:pt x="106822" y="131240"/>
                  </a:cubicBezTo>
                  <a:cubicBezTo>
                    <a:pt x="72289" y="131240"/>
                    <a:pt x="52494" y="145048"/>
                    <a:pt x="52494" y="169918"/>
                  </a:cubicBezTo>
                  <a:cubicBezTo>
                    <a:pt x="52494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BB62778A-CBC0-461E-B274-DB517F0546E3}"/>
                </a:ext>
              </a:extLst>
            </p:cNvPr>
            <p:cNvSpPr/>
            <p:nvPr/>
          </p:nvSpPr>
          <p:spPr>
            <a:xfrm>
              <a:off x="4504663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1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09" y="50191"/>
                  </a:cubicBezTo>
                  <a:cubicBezTo>
                    <a:pt x="78276" y="50191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71" y="196161"/>
                    <a:pt x="145509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Freihandform: Form 247">
              <a:extLst>
                <a:ext uri="{FF2B5EF4-FFF2-40B4-BE49-F238E27FC236}">
                  <a16:creationId xmlns:a16="http://schemas.microsoft.com/office/drawing/2014/main" id="{337ABDD6-BAFD-497D-BA4B-D32E663BBB93}"/>
                </a:ext>
              </a:extLst>
            </p:cNvPr>
            <p:cNvSpPr/>
            <p:nvPr/>
          </p:nvSpPr>
          <p:spPr>
            <a:xfrm>
              <a:off x="4749206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8 w 201695"/>
                <a:gd name="connsiteY10" fmla="*/ 136298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298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Freihandform: Form 248">
              <a:extLst>
                <a:ext uri="{FF2B5EF4-FFF2-40B4-BE49-F238E27FC236}">
                  <a16:creationId xmlns:a16="http://schemas.microsoft.com/office/drawing/2014/main" id="{F912D02F-D665-4FC7-ACBE-AFD64A4892B2}"/>
                </a:ext>
              </a:extLst>
            </p:cNvPr>
            <p:cNvSpPr/>
            <p:nvPr/>
          </p:nvSpPr>
          <p:spPr>
            <a:xfrm>
              <a:off x="5020788" y="2443535"/>
              <a:ext cx="218735" cy="348125"/>
            </a:xfrm>
            <a:custGeom>
              <a:avLst/>
              <a:gdLst>
                <a:gd name="connsiteX0" fmla="*/ 218736 w 218735"/>
                <a:gd name="connsiteY0" fmla="*/ 223785 h 348125"/>
                <a:gd name="connsiteX1" fmla="*/ 122959 w 218735"/>
                <a:gd name="connsiteY1" fmla="*/ 348125 h 348125"/>
                <a:gd name="connsiteX2" fmla="*/ 53424 w 218735"/>
                <a:gd name="connsiteY2" fmla="*/ 315434 h 348125"/>
                <a:gd name="connsiteX3" fmla="*/ 52503 w 218735"/>
                <a:gd name="connsiteY3" fmla="*/ 315434 h 348125"/>
                <a:gd name="connsiteX4" fmla="*/ 52503 w 218735"/>
                <a:gd name="connsiteY4" fmla="*/ 342599 h 348125"/>
                <a:gd name="connsiteX5" fmla="*/ 0 w 218735"/>
                <a:gd name="connsiteY5" fmla="*/ 342599 h 348125"/>
                <a:gd name="connsiteX6" fmla="*/ 0 w 218735"/>
                <a:gd name="connsiteY6" fmla="*/ 13808 h 348125"/>
                <a:gd name="connsiteX7" fmla="*/ 54806 w 218735"/>
                <a:gd name="connsiteY7" fmla="*/ 0 h 348125"/>
                <a:gd name="connsiteX8" fmla="*/ 54806 w 218735"/>
                <a:gd name="connsiteY8" fmla="*/ 135376 h 348125"/>
                <a:gd name="connsiteX9" fmla="*/ 55719 w 218735"/>
                <a:gd name="connsiteY9" fmla="*/ 135376 h 348125"/>
                <a:gd name="connsiteX10" fmla="*/ 124332 w 218735"/>
                <a:gd name="connsiteY10" fmla="*/ 102225 h 348125"/>
                <a:gd name="connsiteX11" fmla="*/ 218736 w 218735"/>
                <a:gd name="connsiteY11" fmla="*/ 223785 h 348125"/>
                <a:gd name="connsiteX12" fmla="*/ 164852 w 218735"/>
                <a:gd name="connsiteY12" fmla="*/ 225167 h 348125"/>
                <a:gd name="connsiteX13" fmla="*/ 110055 w 218735"/>
                <a:gd name="connsiteY13" fmla="*/ 151487 h 348125"/>
                <a:gd name="connsiteX14" fmla="*/ 54797 w 218735"/>
                <a:gd name="connsiteY14" fmla="*/ 181883 h 348125"/>
                <a:gd name="connsiteX15" fmla="*/ 54797 w 218735"/>
                <a:gd name="connsiteY15" fmla="*/ 267537 h 348125"/>
                <a:gd name="connsiteX16" fmla="*/ 110507 w 218735"/>
                <a:gd name="connsiteY16" fmla="*/ 299315 h 348125"/>
                <a:gd name="connsiteX17" fmla="*/ 164852 w 218735"/>
                <a:gd name="connsiteY17" fmla="*/ 225167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735" h="348125">
                  <a:moveTo>
                    <a:pt x="218736" y="223785"/>
                  </a:moveTo>
                  <a:cubicBezTo>
                    <a:pt x="218736" y="299315"/>
                    <a:pt x="180519" y="348125"/>
                    <a:pt x="122959" y="348125"/>
                  </a:cubicBezTo>
                  <a:cubicBezTo>
                    <a:pt x="93483" y="348125"/>
                    <a:pt x="69074" y="335690"/>
                    <a:pt x="53424" y="315434"/>
                  </a:cubicBezTo>
                  <a:lnTo>
                    <a:pt x="52503" y="315434"/>
                  </a:lnTo>
                  <a:lnTo>
                    <a:pt x="52503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806" y="0"/>
                  </a:lnTo>
                  <a:lnTo>
                    <a:pt x="54806" y="135376"/>
                  </a:lnTo>
                  <a:lnTo>
                    <a:pt x="55719" y="135376"/>
                  </a:lnTo>
                  <a:cubicBezTo>
                    <a:pt x="71377" y="114652"/>
                    <a:pt x="95317" y="102225"/>
                    <a:pt x="124332" y="102225"/>
                  </a:cubicBezTo>
                  <a:cubicBezTo>
                    <a:pt x="180510" y="102217"/>
                    <a:pt x="218736" y="147803"/>
                    <a:pt x="218736" y="223785"/>
                  </a:cubicBezTo>
                  <a:close/>
                  <a:moveTo>
                    <a:pt x="164852" y="225167"/>
                  </a:moveTo>
                  <a:cubicBezTo>
                    <a:pt x="164852" y="176826"/>
                    <a:pt x="145056" y="151487"/>
                    <a:pt x="110055" y="151487"/>
                  </a:cubicBezTo>
                  <a:cubicBezTo>
                    <a:pt x="88878" y="151487"/>
                    <a:pt x="71838" y="160707"/>
                    <a:pt x="54797" y="181883"/>
                  </a:cubicBezTo>
                  <a:lnTo>
                    <a:pt x="54797" y="267537"/>
                  </a:lnTo>
                  <a:cubicBezTo>
                    <a:pt x="70448" y="288262"/>
                    <a:pt x="87949" y="299315"/>
                    <a:pt x="110507" y="299315"/>
                  </a:cubicBezTo>
                  <a:cubicBezTo>
                    <a:pt x="145969" y="299307"/>
                    <a:pt x="164852" y="272134"/>
                    <a:pt x="164852" y="225167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0" name="Freihandform: Form 249">
              <a:extLst>
                <a:ext uri="{FF2B5EF4-FFF2-40B4-BE49-F238E27FC236}">
                  <a16:creationId xmlns:a16="http://schemas.microsoft.com/office/drawing/2014/main" id="{ED3D0B6C-CF30-40F6-9994-049DE2F09E77}"/>
                </a:ext>
              </a:extLst>
            </p:cNvPr>
            <p:cNvSpPr/>
            <p:nvPr/>
          </p:nvSpPr>
          <p:spPr>
            <a:xfrm>
              <a:off x="5287630" y="2545752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806 w 214138"/>
                <a:gd name="connsiteY10" fmla="*/ 101765 h 245899"/>
                <a:gd name="connsiteX11" fmla="*/ 161176 w 214138"/>
                <a:gd name="connsiteY11" fmla="*/ 101765 h 245899"/>
                <a:gd name="connsiteX12" fmla="*/ 109134 w 214138"/>
                <a:gd name="connsiteY12" fmla="*/ 45125 h 245899"/>
                <a:gd name="connsiteX13" fmla="*/ 54806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7" y="198924"/>
                    <a:pt x="155658" y="190634"/>
                    <a:pt x="174079" y="171291"/>
                  </a:cubicBezTo>
                  <a:lnTo>
                    <a:pt x="208152" y="207214"/>
                  </a:lnTo>
                  <a:cubicBezTo>
                    <a:pt x="181440" y="233465"/>
                    <a:pt x="151504" y="245900"/>
                    <a:pt x="116042" y="245900"/>
                  </a:cubicBezTo>
                  <a:close/>
                  <a:moveTo>
                    <a:pt x="54806" y="101765"/>
                  </a:moveTo>
                  <a:lnTo>
                    <a:pt x="161176" y="101765"/>
                  </a:lnTo>
                  <a:cubicBezTo>
                    <a:pt x="158873" y="65850"/>
                    <a:pt x="139990" y="45125"/>
                    <a:pt x="109134" y="45125"/>
                  </a:cubicBezTo>
                  <a:cubicBezTo>
                    <a:pt x="78746" y="45134"/>
                    <a:pt x="59411" y="65390"/>
                    <a:pt x="54806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1" name="Freihandform: Form 250">
              <a:extLst>
                <a:ext uri="{FF2B5EF4-FFF2-40B4-BE49-F238E27FC236}">
                  <a16:creationId xmlns:a16="http://schemas.microsoft.com/office/drawing/2014/main" id="{2F102745-C89E-4457-AB2E-9882F7EDF638}"/>
                </a:ext>
              </a:extLst>
            </p:cNvPr>
            <p:cNvSpPr/>
            <p:nvPr/>
          </p:nvSpPr>
          <p:spPr>
            <a:xfrm>
              <a:off x="5561607" y="2545769"/>
              <a:ext cx="141832" cy="240365"/>
            </a:xfrm>
            <a:custGeom>
              <a:avLst/>
              <a:gdLst>
                <a:gd name="connsiteX0" fmla="*/ 141833 w 141832"/>
                <a:gd name="connsiteY0" fmla="*/ 5049 h 240365"/>
                <a:gd name="connsiteX1" fmla="*/ 133082 w 141832"/>
                <a:gd name="connsiteY1" fmla="*/ 61228 h 240365"/>
                <a:gd name="connsiteX2" fmla="*/ 102686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34 w 141832"/>
                <a:gd name="connsiteY10" fmla="*/ 0 h 240365"/>
                <a:gd name="connsiteX11" fmla="*/ 141833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3" y="5049"/>
                  </a:moveTo>
                  <a:lnTo>
                    <a:pt x="133082" y="61228"/>
                  </a:lnTo>
                  <a:cubicBezTo>
                    <a:pt x="124792" y="56623"/>
                    <a:pt x="114661" y="53859"/>
                    <a:pt x="102686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4" y="0"/>
                  </a:cubicBezTo>
                  <a:cubicBezTo>
                    <a:pt x="123879" y="-17"/>
                    <a:pt x="133543" y="1365"/>
                    <a:pt x="141833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2" name="Freihandform: Form 251">
              <a:extLst>
                <a:ext uri="{FF2B5EF4-FFF2-40B4-BE49-F238E27FC236}">
                  <a16:creationId xmlns:a16="http://schemas.microsoft.com/office/drawing/2014/main" id="{20B8CF65-3C7E-40C9-9359-73514BB8968F}"/>
                </a:ext>
              </a:extLst>
            </p:cNvPr>
            <p:cNvSpPr/>
            <p:nvPr/>
          </p:nvSpPr>
          <p:spPr>
            <a:xfrm>
              <a:off x="5733668" y="2545752"/>
              <a:ext cx="214138" cy="245899"/>
            </a:xfrm>
            <a:custGeom>
              <a:avLst/>
              <a:gdLst>
                <a:gd name="connsiteX0" fmla="*/ 116041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6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1 w 214138"/>
                <a:gd name="connsiteY8" fmla="*/ 207214 h 245899"/>
                <a:gd name="connsiteX9" fmla="*/ 116041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5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1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6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6" y="198924"/>
                    <a:pt x="155657" y="190634"/>
                    <a:pt x="174079" y="171291"/>
                  </a:cubicBezTo>
                  <a:lnTo>
                    <a:pt x="208151" y="207214"/>
                  </a:lnTo>
                  <a:cubicBezTo>
                    <a:pt x="181431" y="233465"/>
                    <a:pt x="151495" y="245900"/>
                    <a:pt x="116041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5"/>
                    <a:pt x="109125" y="45125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3" name="Freihandform: Form 252">
              <a:extLst>
                <a:ext uri="{FF2B5EF4-FFF2-40B4-BE49-F238E27FC236}">
                  <a16:creationId xmlns:a16="http://schemas.microsoft.com/office/drawing/2014/main" id="{C90F29F1-CEB1-4699-829E-DC7991CA70DB}"/>
                </a:ext>
              </a:extLst>
            </p:cNvPr>
            <p:cNvSpPr/>
            <p:nvPr/>
          </p:nvSpPr>
          <p:spPr>
            <a:xfrm>
              <a:off x="5999489" y="2447663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2DF19D42-3ABB-4580-B25F-F2837990BD84}"/>
                </a:ext>
              </a:extLst>
            </p:cNvPr>
            <p:cNvSpPr/>
            <p:nvPr/>
          </p:nvSpPr>
          <p:spPr>
            <a:xfrm>
              <a:off x="6120438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8 w 197542"/>
                <a:gd name="connsiteY5" fmla="*/ 75974 h 245899"/>
                <a:gd name="connsiteX6" fmla="*/ 112810 w 197542"/>
                <a:gd name="connsiteY6" fmla="*/ 50191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8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63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E5998662-7726-4AF1-B7A1-4A9F52203D33}"/>
                </a:ext>
              </a:extLst>
            </p:cNvPr>
            <p:cNvSpPr/>
            <p:nvPr/>
          </p:nvSpPr>
          <p:spPr>
            <a:xfrm>
              <a:off x="6364973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9 w 201695"/>
                <a:gd name="connsiteY10" fmla="*/ 136298 h 342598"/>
                <a:gd name="connsiteX11" fmla="*/ 124324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9" y="136298"/>
                  </a:lnTo>
                  <a:cubicBezTo>
                    <a:pt x="69074" y="115573"/>
                    <a:pt x="93483" y="102225"/>
                    <a:pt x="124324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2C67B4C5-66E7-4334-907E-BD17FDCA901F}"/>
                </a:ext>
              </a:extLst>
            </p:cNvPr>
            <p:cNvSpPr/>
            <p:nvPr/>
          </p:nvSpPr>
          <p:spPr>
            <a:xfrm>
              <a:off x="6751826" y="2461940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9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2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9 w 398768"/>
                <a:gd name="connsiteY9" fmla="*/ 0 h 324184"/>
                <a:gd name="connsiteX10" fmla="*/ 317260 w 398768"/>
                <a:gd name="connsiteY10" fmla="*/ 324185 h 324184"/>
                <a:gd name="connsiteX11" fmla="*/ 257858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9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2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9" y="0"/>
                  </a:lnTo>
                  <a:lnTo>
                    <a:pt x="317260" y="324185"/>
                  </a:lnTo>
                  <a:lnTo>
                    <a:pt x="257858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D1D81AEF-2530-4F8A-A1BA-E124FBEB83E3}"/>
                </a:ext>
              </a:extLst>
            </p:cNvPr>
            <p:cNvSpPr/>
            <p:nvPr/>
          </p:nvSpPr>
          <p:spPr>
            <a:xfrm>
              <a:off x="7196759" y="2447663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91616AB2-66B8-4121-A36D-D023DFC7F416}"/>
                </a:ext>
              </a:extLst>
            </p:cNvPr>
            <p:cNvSpPr/>
            <p:nvPr/>
          </p:nvSpPr>
          <p:spPr>
            <a:xfrm>
              <a:off x="7330586" y="2545769"/>
              <a:ext cx="141832" cy="240365"/>
            </a:xfrm>
            <a:custGeom>
              <a:avLst/>
              <a:gdLst>
                <a:gd name="connsiteX0" fmla="*/ 141832 w 141832"/>
                <a:gd name="connsiteY0" fmla="*/ 5049 h 240365"/>
                <a:gd name="connsiteX1" fmla="*/ 133082 w 141832"/>
                <a:gd name="connsiteY1" fmla="*/ 61228 h 240365"/>
                <a:gd name="connsiteX2" fmla="*/ 102694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41 w 141832"/>
                <a:gd name="connsiteY10" fmla="*/ 0 h 240365"/>
                <a:gd name="connsiteX11" fmla="*/ 141832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2" y="5049"/>
                  </a:moveTo>
                  <a:lnTo>
                    <a:pt x="133082" y="61228"/>
                  </a:lnTo>
                  <a:cubicBezTo>
                    <a:pt x="124792" y="56623"/>
                    <a:pt x="114668" y="53859"/>
                    <a:pt x="102694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3" y="13348"/>
                    <a:pt x="89330" y="0"/>
                    <a:pt x="116041" y="0"/>
                  </a:cubicBezTo>
                  <a:cubicBezTo>
                    <a:pt x="123871" y="-17"/>
                    <a:pt x="133543" y="1365"/>
                    <a:pt x="141832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CF224488-73D5-498B-8A6F-E508395322D3}"/>
                </a:ext>
              </a:extLst>
            </p:cNvPr>
            <p:cNvSpPr/>
            <p:nvPr/>
          </p:nvSpPr>
          <p:spPr>
            <a:xfrm>
              <a:off x="7506323" y="2475749"/>
              <a:ext cx="145977" cy="315903"/>
            </a:xfrm>
            <a:custGeom>
              <a:avLst/>
              <a:gdLst>
                <a:gd name="connsiteX0" fmla="*/ 145978 w 145977"/>
                <a:gd name="connsiteY0" fmla="*/ 260185 h 315903"/>
                <a:gd name="connsiteX1" fmla="*/ 145978 w 145977"/>
                <a:gd name="connsiteY1" fmla="*/ 307153 h 315903"/>
                <a:gd name="connsiteX2" fmla="*/ 99923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2 w 145977"/>
                <a:gd name="connsiteY15" fmla="*/ 268006 h 315903"/>
                <a:gd name="connsiteX16" fmla="*/ 145978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3" y="312680"/>
                    <a:pt x="116041" y="315903"/>
                    <a:pt x="99923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20" y="268006"/>
                    <a:pt x="115572" y="268006"/>
                  </a:cubicBezTo>
                  <a:cubicBezTo>
                    <a:pt x="125721" y="268015"/>
                    <a:pt x="136766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3AE46D25-9359-4619-8055-B59B12C4E131}"/>
                </a:ext>
              </a:extLst>
            </p:cNvPr>
            <p:cNvSpPr/>
            <p:nvPr/>
          </p:nvSpPr>
          <p:spPr>
            <a:xfrm>
              <a:off x="7691154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3" y="53415"/>
                    <a:pt x="115121" y="46499"/>
                    <a:pt x="97159" y="46499"/>
                  </a:cubicBezTo>
                  <a:cubicBezTo>
                    <a:pt x="76896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06F838B5-38CC-47DF-BFBC-AF849845BCE1}"/>
                </a:ext>
              </a:extLst>
            </p:cNvPr>
            <p:cNvSpPr/>
            <p:nvPr/>
          </p:nvSpPr>
          <p:spPr>
            <a:xfrm>
              <a:off x="7916480" y="2545760"/>
              <a:ext cx="197541" cy="245899"/>
            </a:xfrm>
            <a:custGeom>
              <a:avLst/>
              <a:gdLst>
                <a:gd name="connsiteX0" fmla="*/ 196169 w 197541"/>
                <a:gd name="connsiteY0" fmla="*/ 208135 h 245899"/>
                <a:gd name="connsiteX1" fmla="*/ 112357 w 197541"/>
                <a:gd name="connsiteY1" fmla="*/ 245900 h 245899"/>
                <a:gd name="connsiteX2" fmla="*/ 0 w 197541"/>
                <a:gd name="connsiteY2" fmla="*/ 123871 h 245899"/>
                <a:gd name="connsiteX3" fmla="*/ 113278 w 197541"/>
                <a:gd name="connsiteY3" fmla="*/ 0 h 245899"/>
                <a:gd name="connsiteX4" fmla="*/ 197542 w 197541"/>
                <a:gd name="connsiteY4" fmla="*/ 40059 h 245899"/>
                <a:gd name="connsiteX5" fmla="*/ 159777 w 197541"/>
                <a:gd name="connsiteY5" fmla="*/ 75974 h 245899"/>
                <a:gd name="connsiteX6" fmla="*/ 112810 w 197541"/>
                <a:gd name="connsiteY6" fmla="*/ 50191 h 245899"/>
                <a:gd name="connsiteX7" fmla="*/ 54788 w 197541"/>
                <a:gd name="connsiteY7" fmla="*/ 122942 h 245899"/>
                <a:gd name="connsiteX8" fmla="*/ 112349 w 197541"/>
                <a:gd name="connsiteY8" fmla="*/ 196161 h 245899"/>
                <a:gd name="connsiteX9" fmla="*/ 160699 w 197541"/>
                <a:gd name="connsiteY9" fmla="*/ 170370 h 245899"/>
                <a:gd name="connsiteX10" fmla="*/ 196169 w 197541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1" h="245899">
                  <a:moveTo>
                    <a:pt x="196169" y="208135"/>
                  </a:moveTo>
                  <a:cubicBezTo>
                    <a:pt x="172680" y="233926"/>
                    <a:pt x="145977" y="245900"/>
                    <a:pt x="112357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8" y="78737"/>
                    <a:pt x="54788" y="122942"/>
                  </a:cubicBezTo>
                  <a:cubicBezTo>
                    <a:pt x="54788" y="166694"/>
                    <a:pt x="78277" y="196161"/>
                    <a:pt x="112349" y="196161"/>
                  </a:cubicBezTo>
                  <a:cubicBezTo>
                    <a:pt x="130762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EFD7FED8-140E-49CE-846B-FEC793083645}"/>
                </a:ext>
              </a:extLst>
            </p:cNvPr>
            <p:cNvSpPr/>
            <p:nvPr/>
          </p:nvSpPr>
          <p:spPr>
            <a:xfrm>
              <a:off x="8161024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8 w 201695"/>
                <a:gd name="connsiteY1" fmla="*/ 342590 h 342598"/>
                <a:gd name="connsiteX2" fmla="*/ 146898 w 201695"/>
                <a:gd name="connsiteY2" fmla="*/ 208587 h 342598"/>
                <a:gd name="connsiteX3" fmla="*/ 103607 w 201695"/>
                <a:gd name="connsiteY3" fmla="*/ 151487 h 342598"/>
                <a:gd name="connsiteX4" fmla="*/ 54798 w 201695"/>
                <a:gd name="connsiteY4" fmla="*/ 208135 h 342598"/>
                <a:gd name="connsiteX5" fmla="*/ 54798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8 w 201695"/>
                <a:gd name="connsiteY8" fmla="*/ 0 h 342598"/>
                <a:gd name="connsiteX9" fmla="*/ 54798 w 201695"/>
                <a:gd name="connsiteY9" fmla="*/ 136298 h 342598"/>
                <a:gd name="connsiteX10" fmla="*/ 55719 w 201695"/>
                <a:gd name="connsiteY10" fmla="*/ 136298 h 342598"/>
                <a:gd name="connsiteX11" fmla="*/ 124332 w 201695"/>
                <a:gd name="connsiteY11" fmla="*/ 102225 h 342598"/>
                <a:gd name="connsiteX12" fmla="*/ 201688 w 201695"/>
                <a:gd name="connsiteY12" fmla="*/ 197082 h 342598"/>
                <a:gd name="connsiteX13" fmla="*/ 201688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306" y="151487"/>
                    <a:pt x="103607" y="151487"/>
                  </a:cubicBezTo>
                  <a:cubicBezTo>
                    <a:pt x="65850" y="151487"/>
                    <a:pt x="54798" y="181423"/>
                    <a:pt x="54798" y="208135"/>
                  </a:cubicBezTo>
                  <a:lnTo>
                    <a:pt x="54798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8" y="0"/>
                  </a:lnTo>
                  <a:lnTo>
                    <a:pt x="54798" y="136298"/>
                  </a:lnTo>
                  <a:lnTo>
                    <a:pt x="55719" y="136298"/>
                  </a:lnTo>
                  <a:cubicBezTo>
                    <a:pt x="69074" y="115573"/>
                    <a:pt x="93484" y="102225"/>
                    <a:pt x="124332" y="102225"/>
                  </a:cubicBezTo>
                  <a:cubicBezTo>
                    <a:pt x="178660" y="102225"/>
                    <a:pt x="201688" y="142745"/>
                    <a:pt x="201688" y="197082"/>
                  </a:cubicBezTo>
                  <a:lnTo>
                    <a:pt x="201688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A901D558-23E5-4464-8A3C-15F371E6872B}"/>
                </a:ext>
              </a:extLst>
            </p:cNvPr>
            <p:cNvSpPr/>
            <p:nvPr/>
          </p:nvSpPr>
          <p:spPr>
            <a:xfrm>
              <a:off x="8416729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40 w 198923"/>
                <a:gd name="connsiteY1" fmla="*/ 99922 h 245899"/>
                <a:gd name="connsiteX2" fmla="*/ 145040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6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495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26" y="94856"/>
                    <a:pt x="129851" y="95778"/>
                    <a:pt x="145040" y="99922"/>
                  </a:cubicBezTo>
                  <a:lnTo>
                    <a:pt x="145040" y="91633"/>
                  </a:lnTo>
                  <a:cubicBezTo>
                    <a:pt x="145040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2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28" y="204919"/>
                    <a:pt x="129851" y="195248"/>
                    <a:pt x="145048" y="176834"/>
                  </a:cubicBezTo>
                  <a:lnTo>
                    <a:pt x="145048" y="135845"/>
                  </a:lnTo>
                  <a:cubicBezTo>
                    <a:pt x="132152" y="132621"/>
                    <a:pt x="118797" y="131240"/>
                    <a:pt x="106831" y="131240"/>
                  </a:cubicBezTo>
                  <a:cubicBezTo>
                    <a:pt x="72298" y="131240"/>
                    <a:pt x="52495" y="145048"/>
                    <a:pt x="52495" y="169918"/>
                  </a:cubicBezTo>
                  <a:cubicBezTo>
                    <a:pt x="52486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1707B2C4-8F71-403B-9E15-A9883B7C2A1C}"/>
                </a:ext>
              </a:extLst>
            </p:cNvPr>
            <p:cNvSpPr/>
            <p:nvPr/>
          </p:nvSpPr>
          <p:spPr>
            <a:xfrm>
              <a:off x="8659530" y="2440295"/>
              <a:ext cx="143667" cy="345830"/>
            </a:xfrm>
            <a:custGeom>
              <a:avLst/>
              <a:gdLst>
                <a:gd name="connsiteX0" fmla="*/ 143667 w 143667"/>
                <a:gd name="connsiteY0" fmla="*/ 51582 h 345830"/>
                <a:gd name="connsiteX1" fmla="*/ 119727 w 143667"/>
                <a:gd name="connsiteY1" fmla="*/ 46976 h 345830"/>
                <a:gd name="connsiteX2" fmla="*/ 90712 w 143667"/>
                <a:gd name="connsiteY2" fmla="*/ 79667 h 345830"/>
                <a:gd name="connsiteX3" fmla="*/ 90712 w 143667"/>
                <a:gd name="connsiteY3" fmla="*/ 111445 h 345830"/>
                <a:gd name="connsiteX4" fmla="*/ 137228 w 143667"/>
                <a:gd name="connsiteY4" fmla="*/ 111445 h 345830"/>
                <a:gd name="connsiteX5" fmla="*/ 137228 w 143667"/>
                <a:gd name="connsiteY5" fmla="*/ 157031 h 345830"/>
                <a:gd name="connsiteX6" fmla="*/ 91173 w 143667"/>
                <a:gd name="connsiteY6" fmla="*/ 157031 h 345830"/>
                <a:gd name="connsiteX7" fmla="*/ 91173 w 143667"/>
                <a:gd name="connsiteY7" fmla="*/ 345831 h 345830"/>
                <a:gd name="connsiteX8" fmla="*/ 36375 w 143667"/>
                <a:gd name="connsiteY8" fmla="*/ 345831 h 345830"/>
                <a:gd name="connsiteX9" fmla="*/ 36375 w 143667"/>
                <a:gd name="connsiteY9" fmla="*/ 157031 h 345830"/>
                <a:gd name="connsiteX10" fmla="*/ 0 w 143667"/>
                <a:gd name="connsiteY10" fmla="*/ 157031 h 345830"/>
                <a:gd name="connsiteX11" fmla="*/ 0 w 143667"/>
                <a:gd name="connsiteY11" fmla="*/ 111445 h 345830"/>
                <a:gd name="connsiteX12" fmla="*/ 36375 w 143667"/>
                <a:gd name="connsiteY12" fmla="*/ 111445 h 345830"/>
                <a:gd name="connsiteX13" fmla="*/ 36375 w 143667"/>
                <a:gd name="connsiteY13" fmla="*/ 77824 h 345830"/>
                <a:gd name="connsiteX14" fmla="*/ 110976 w 143667"/>
                <a:gd name="connsiteY14" fmla="*/ 0 h 345830"/>
                <a:gd name="connsiteX15" fmla="*/ 143667 w 143667"/>
                <a:gd name="connsiteY15" fmla="*/ 5066 h 345830"/>
                <a:gd name="connsiteX16" fmla="*/ 143667 w 143667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67" h="345830">
                  <a:moveTo>
                    <a:pt x="143667" y="51582"/>
                  </a:moveTo>
                  <a:cubicBezTo>
                    <a:pt x="136298" y="48358"/>
                    <a:pt x="127548" y="46976"/>
                    <a:pt x="119727" y="46976"/>
                  </a:cubicBezTo>
                  <a:cubicBezTo>
                    <a:pt x="99001" y="46976"/>
                    <a:pt x="90712" y="57569"/>
                    <a:pt x="90712" y="79667"/>
                  </a:cubicBezTo>
                  <a:lnTo>
                    <a:pt x="90712" y="111445"/>
                  </a:lnTo>
                  <a:lnTo>
                    <a:pt x="137228" y="111445"/>
                  </a:lnTo>
                  <a:lnTo>
                    <a:pt x="137228" y="157031"/>
                  </a:lnTo>
                  <a:lnTo>
                    <a:pt x="91173" y="157031"/>
                  </a:lnTo>
                  <a:lnTo>
                    <a:pt x="91173" y="345831"/>
                  </a:lnTo>
                  <a:lnTo>
                    <a:pt x="36375" y="345831"/>
                  </a:lnTo>
                  <a:lnTo>
                    <a:pt x="36375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75" y="111445"/>
                  </a:lnTo>
                  <a:lnTo>
                    <a:pt x="36375" y="77824"/>
                  </a:lnTo>
                  <a:cubicBezTo>
                    <a:pt x="36375" y="29015"/>
                    <a:pt x="58481" y="0"/>
                    <a:pt x="110976" y="0"/>
                  </a:cubicBezTo>
                  <a:cubicBezTo>
                    <a:pt x="122951" y="0"/>
                    <a:pt x="134465" y="1382"/>
                    <a:pt x="143667" y="5066"/>
                  </a:cubicBezTo>
                  <a:lnTo>
                    <a:pt x="143667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3A870182-1564-41CE-9E37-9ABD1DE9A6E3}"/>
                </a:ext>
              </a:extLst>
            </p:cNvPr>
            <p:cNvSpPr/>
            <p:nvPr/>
          </p:nvSpPr>
          <p:spPr>
            <a:xfrm>
              <a:off x="8832370" y="2475749"/>
              <a:ext cx="145978" cy="315903"/>
            </a:xfrm>
            <a:custGeom>
              <a:avLst/>
              <a:gdLst>
                <a:gd name="connsiteX0" fmla="*/ 145978 w 145978"/>
                <a:gd name="connsiteY0" fmla="*/ 260185 h 315903"/>
                <a:gd name="connsiteX1" fmla="*/ 145978 w 145978"/>
                <a:gd name="connsiteY1" fmla="*/ 307153 h 315903"/>
                <a:gd name="connsiteX2" fmla="*/ 99923 w 145978"/>
                <a:gd name="connsiteY2" fmla="*/ 315903 h 315903"/>
                <a:gd name="connsiteX3" fmla="*/ 35915 w 145978"/>
                <a:gd name="connsiteY3" fmla="*/ 250053 h 315903"/>
                <a:gd name="connsiteX4" fmla="*/ 35915 w 145978"/>
                <a:gd name="connsiteY4" fmla="*/ 121577 h 315903"/>
                <a:gd name="connsiteX5" fmla="*/ 0 w 145978"/>
                <a:gd name="connsiteY5" fmla="*/ 121577 h 315903"/>
                <a:gd name="connsiteX6" fmla="*/ 0 w 145978"/>
                <a:gd name="connsiteY6" fmla="*/ 75991 h 315903"/>
                <a:gd name="connsiteX7" fmla="*/ 35454 w 145978"/>
                <a:gd name="connsiteY7" fmla="*/ 75991 h 315903"/>
                <a:gd name="connsiteX8" fmla="*/ 35454 w 145978"/>
                <a:gd name="connsiteY8" fmla="*/ 11983 h 315903"/>
                <a:gd name="connsiteX9" fmla="*/ 90252 w 145978"/>
                <a:gd name="connsiteY9" fmla="*/ 0 h 315903"/>
                <a:gd name="connsiteX10" fmla="*/ 90252 w 145978"/>
                <a:gd name="connsiteY10" fmla="*/ 75982 h 315903"/>
                <a:gd name="connsiteX11" fmla="*/ 145969 w 145978"/>
                <a:gd name="connsiteY11" fmla="*/ 75982 h 315903"/>
                <a:gd name="connsiteX12" fmla="*/ 145969 w 145978"/>
                <a:gd name="connsiteY12" fmla="*/ 121568 h 315903"/>
                <a:gd name="connsiteX13" fmla="*/ 90252 w 145978"/>
                <a:gd name="connsiteY13" fmla="*/ 121568 h 315903"/>
                <a:gd name="connsiteX14" fmla="*/ 90252 w 145978"/>
                <a:gd name="connsiteY14" fmla="*/ 237149 h 315903"/>
                <a:gd name="connsiteX15" fmla="*/ 115573 w 145978"/>
                <a:gd name="connsiteY15" fmla="*/ 268006 h 315903"/>
                <a:gd name="connsiteX16" fmla="*/ 145978 w 145978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8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4" y="312680"/>
                    <a:pt x="116042" y="315903"/>
                    <a:pt x="99923" y="315903"/>
                  </a:cubicBezTo>
                  <a:cubicBezTo>
                    <a:pt x="58481" y="315903"/>
                    <a:pt x="35915" y="292876"/>
                    <a:pt x="35915" y="250053"/>
                  </a:cubicBezTo>
                  <a:lnTo>
                    <a:pt x="35915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2" y="0"/>
                  </a:lnTo>
                  <a:lnTo>
                    <a:pt x="90252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2" y="121568"/>
                  </a:lnTo>
                  <a:lnTo>
                    <a:pt x="90252" y="237149"/>
                  </a:lnTo>
                  <a:cubicBezTo>
                    <a:pt x="90252" y="258795"/>
                    <a:pt x="97620" y="268006"/>
                    <a:pt x="115573" y="268006"/>
                  </a:cubicBezTo>
                  <a:cubicBezTo>
                    <a:pt x="125714" y="268015"/>
                    <a:pt x="136758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59DBD287-68CC-4F3F-90AB-A995B27E5A9B}"/>
                </a:ext>
              </a:extLst>
            </p:cNvPr>
            <p:cNvSpPr/>
            <p:nvPr/>
          </p:nvSpPr>
          <p:spPr>
            <a:xfrm>
              <a:off x="9017185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B6287DF6-CA02-4DE1-AD71-4BF62EBE6396}"/>
                </a:ext>
              </a:extLst>
            </p:cNvPr>
            <p:cNvSpPr/>
            <p:nvPr/>
          </p:nvSpPr>
          <p:spPr>
            <a:xfrm>
              <a:off x="9240728" y="2616208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A455995B-FF19-4248-94F5-EA453F5182BC}"/>
                </a:ext>
              </a:extLst>
            </p:cNvPr>
            <p:cNvSpPr/>
            <p:nvPr/>
          </p:nvSpPr>
          <p:spPr>
            <a:xfrm>
              <a:off x="9550208" y="2551739"/>
              <a:ext cx="201686" cy="239921"/>
            </a:xfrm>
            <a:custGeom>
              <a:avLst/>
              <a:gdLst>
                <a:gd name="connsiteX0" fmla="*/ 54797 w 201686"/>
                <a:gd name="connsiteY0" fmla="*/ 140911 h 239921"/>
                <a:gd name="connsiteX1" fmla="*/ 101304 w 201686"/>
                <a:gd name="connsiteY1" fmla="*/ 190182 h 239921"/>
                <a:gd name="connsiteX2" fmla="*/ 146890 w 201686"/>
                <a:gd name="connsiteY2" fmla="*/ 140451 h 239921"/>
                <a:gd name="connsiteX3" fmla="*/ 146890 w 201686"/>
                <a:gd name="connsiteY3" fmla="*/ 8 h 239921"/>
                <a:gd name="connsiteX4" fmla="*/ 201687 w 201686"/>
                <a:gd name="connsiteY4" fmla="*/ 8 h 239921"/>
                <a:gd name="connsiteX5" fmla="*/ 201687 w 201686"/>
                <a:gd name="connsiteY5" fmla="*/ 142301 h 239921"/>
                <a:gd name="connsiteX6" fmla="*/ 102685 w 201686"/>
                <a:gd name="connsiteY6" fmla="*/ 239921 h 239921"/>
                <a:gd name="connsiteX7" fmla="*/ 0 w 201686"/>
                <a:gd name="connsiteY7" fmla="*/ 142754 h 239921"/>
                <a:gd name="connsiteX8" fmla="*/ 0 w 201686"/>
                <a:gd name="connsiteY8" fmla="*/ 0 h 239921"/>
                <a:gd name="connsiteX9" fmla="*/ 54797 w 201686"/>
                <a:gd name="connsiteY9" fmla="*/ 0 h 239921"/>
                <a:gd name="connsiteX10" fmla="*/ 54797 w 201686"/>
                <a:gd name="connsiteY10" fmla="*/ 140911 h 23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86" h="239921">
                  <a:moveTo>
                    <a:pt x="54797" y="140911"/>
                  </a:moveTo>
                  <a:cubicBezTo>
                    <a:pt x="54797" y="173141"/>
                    <a:pt x="70916" y="190182"/>
                    <a:pt x="101304" y="190182"/>
                  </a:cubicBezTo>
                  <a:cubicBezTo>
                    <a:pt x="131240" y="190182"/>
                    <a:pt x="146890" y="173610"/>
                    <a:pt x="146890" y="140451"/>
                  </a:cubicBezTo>
                  <a:lnTo>
                    <a:pt x="146890" y="8"/>
                  </a:lnTo>
                  <a:lnTo>
                    <a:pt x="201687" y="8"/>
                  </a:lnTo>
                  <a:lnTo>
                    <a:pt x="201687" y="142301"/>
                  </a:lnTo>
                  <a:cubicBezTo>
                    <a:pt x="201687" y="203998"/>
                    <a:pt x="167155" y="239921"/>
                    <a:pt x="102685" y="239921"/>
                  </a:cubicBezTo>
                  <a:cubicBezTo>
                    <a:pt x="38678" y="239921"/>
                    <a:pt x="0" y="203998"/>
                    <a:pt x="0" y="142754"/>
                  </a:cubicBezTo>
                  <a:lnTo>
                    <a:pt x="0" y="0"/>
                  </a:lnTo>
                  <a:lnTo>
                    <a:pt x="54797" y="0"/>
                  </a:lnTo>
                  <a:lnTo>
                    <a:pt x="54797" y="14091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9" name="Freihandform: Form 268">
              <a:extLst>
                <a:ext uri="{FF2B5EF4-FFF2-40B4-BE49-F238E27FC236}">
                  <a16:creationId xmlns:a16="http://schemas.microsoft.com/office/drawing/2014/main" id="{2A24E77D-343F-423D-A124-23142B96164A}"/>
                </a:ext>
              </a:extLst>
            </p:cNvPr>
            <p:cNvSpPr/>
            <p:nvPr/>
          </p:nvSpPr>
          <p:spPr>
            <a:xfrm>
              <a:off x="9821371" y="2545760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89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0" name="Freihandform: Form 269">
              <a:extLst>
                <a:ext uri="{FF2B5EF4-FFF2-40B4-BE49-F238E27FC236}">
                  <a16:creationId xmlns:a16="http://schemas.microsoft.com/office/drawing/2014/main" id="{83AE92AB-068D-4D77-910A-C243DEA3B7D8}"/>
                </a:ext>
              </a:extLst>
            </p:cNvPr>
            <p:cNvSpPr/>
            <p:nvPr/>
          </p:nvSpPr>
          <p:spPr>
            <a:xfrm>
              <a:off x="10081021" y="2443527"/>
              <a:ext cx="219196" cy="348125"/>
            </a:xfrm>
            <a:custGeom>
              <a:avLst/>
              <a:gdLst>
                <a:gd name="connsiteX0" fmla="*/ 0 w 219196"/>
                <a:gd name="connsiteY0" fmla="*/ 224715 h 348125"/>
                <a:gd name="connsiteX1" fmla="*/ 95326 w 219196"/>
                <a:gd name="connsiteY1" fmla="*/ 102225 h 348125"/>
                <a:gd name="connsiteX2" fmla="*/ 163478 w 219196"/>
                <a:gd name="connsiteY2" fmla="*/ 133995 h 348125"/>
                <a:gd name="connsiteX3" fmla="*/ 164399 w 219196"/>
                <a:gd name="connsiteY3" fmla="*/ 133995 h 348125"/>
                <a:gd name="connsiteX4" fmla="*/ 164399 w 219196"/>
                <a:gd name="connsiteY4" fmla="*/ 13808 h 348125"/>
                <a:gd name="connsiteX5" fmla="*/ 219196 w 219196"/>
                <a:gd name="connsiteY5" fmla="*/ 0 h 348125"/>
                <a:gd name="connsiteX6" fmla="*/ 219196 w 219196"/>
                <a:gd name="connsiteY6" fmla="*/ 342598 h 348125"/>
                <a:gd name="connsiteX7" fmla="*/ 165781 w 219196"/>
                <a:gd name="connsiteY7" fmla="*/ 342598 h 348125"/>
                <a:gd name="connsiteX8" fmla="*/ 165781 w 219196"/>
                <a:gd name="connsiteY8" fmla="*/ 314965 h 348125"/>
                <a:gd name="connsiteX9" fmla="*/ 164860 w 219196"/>
                <a:gd name="connsiteY9" fmla="*/ 314965 h 348125"/>
                <a:gd name="connsiteX10" fmla="*/ 94405 w 219196"/>
                <a:gd name="connsiteY10" fmla="*/ 348125 h 348125"/>
                <a:gd name="connsiteX11" fmla="*/ 0 w 219196"/>
                <a:gd name="connsiteY11" fmla="*/ 224715 h 348125"/>
                <a:gd name="connsiteX12" fmla="*/ 54345 w 219196"/>
                <a:gd name="connsiteY12" fmla="*/ 224715 h 348125"/>
                <a:gd name="connsiteX13" fmla="*/ 108681 w 219196"/>
                <a:gd name="connsiteY13" fmla="*/ 299776 h 348125"/>
                <a:gd name="connsiteX14" fmla="*/ 164399 w 219196"/>
                <a:gd name="connsiteY14" fmla="*/ 268919 h 348125"/>
                <a:gd name="connsiteX15" fmla="*/ 164399 w 219196"/>
                <a:gd name="connsiteY15" fmla="*/ 183265 h 348125"/>
                <a:gd name="connsiteX16" fmla="*/ 108681 w 219196"/>
                <a:gd name="connsiteY16" fmla="*/ 151956 h 348125"/>
                <a:gd name="connsiteX17" fmla="*/ 54345 w 219196"/>
                <a:gd name="connsiteY17" fmla="*/ 224715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6" h="348125">
                  <a:moveTo>
                    <a:pt x="0" y="224715"/>
                  </a:moveTo>
                  <a:cubicBezTo>
                    <a:pt x="0" y="149193"/>
                    <a:pt x="38217" y="102225"/>
                    <a:pt x="95326" y="102225"/>
                  </a:cubicBezTo>
                  <a:cubicBezTo>
                    <a:pt x="124801" y="102225"/>
                    <a:pt x="147828" y="114652"/>
                    <a:pt x="163478" y="133995"/>
                  </a:cubicBezTo>
                  <a:lnTo>
                    <a:pt x="164399" y="133995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8"/>
                  </a:lnTo>
                  <a:lnTo>
                    <a:pt x="165781" y="342598"/>
                  </a:lnTo>
                  <a:lnTo>
                    <a:pt x="165781" y="314965"/>
                  </a:lnTo>
                  <a:lnTo>
                    <a:pt x="164860" y="314965"/>
                  </a:lnTo>
                  <a:cubicBezTo>
                    <a:pt x="147828" y="335690"/>
                    <a:pt x="123419" y="348125"/>
                    <a:pt x="94405" y="348125"/>
                  </a:cubicBezTo>
                  <a:cubicBezTo>
                    <a:pt x="38686" y="348125"/>
                    <a:pt x="0" y="300697"/>
                    <a:pt x="0" y="224715"/>
                  </a:cubicBezTo>
                  <a:close/>
                  <a:moveTo>
                    <a:pt x="54345" y="224715"/>
                  </a:moveTo>
                  <a:cubicBezTo>
                    <a:pt x="54345" y="272603"/>
                    <a:pt x="74148" y="299776"/>
                    <a:pt x="108681" y="299776"/>
                  </a:cubicBezTo>
                  <a:cubicBezTo>
                    <a:pt x="129867" y="299776"/>
                    <a:pt x="147359" y="289644"/>
                    <a:pt x="164399" y="268919"/>
                  </a:cubicBezTo>
                  <a:lnTo>
                    <a:pt x="164399" y="183265"/>
                  </a:lnTo>
                  <a:cubicBezTo>
                    <a:pt x="148740" y="162088"/>
                    <a:pt x="130780" y="151956"/>
                    <a:pt x="108681" y="151956"/>
                  </a:cubicBezTo>
                  <a:cubicBezTo>
                    <a:pt x="73227" y="151965"/>
                    <a:pt x="54345" y="177747"/>
                    <a:pt x="54345" y="22471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1" name="Freihandform: Form 270">
              <a:extLst>
                <a:ext uri="{FF2B5EF4-FFF2-40B4-BE49-F238E27FC236}">
                  <a16:creationId xmlns:a16="http://schemas.microsoft.com/office/drawing/2014/main" id="{71B3082D-B364-404C-8EE0-64D1F1F07577}"/>
                </a:ext>
              </a:extLst>
            </p:cNvPr>
            <p:cNvSpPr/>
            <p:nvPr/>
          </p:nvSpPr>
          <p:spPr>
            <a:xfrm>
              <a:off x="4011188" y="2963018"/>
              <a:ext cx="227478" cy="335246"/>
            </a:xfrm>
            <a:custGeom>
              <a:avLst/>
              <a:gdLst>
                <a:gd name="connsiteX0" fmla="*/ 36383 w 227478"/>
                <a:gd name="connsiteY0" fmla="*/ 245900 h 335246"/>
                <a:gd name="connsiteX1" fmla="*/ 116963 w 227478"/>
                <a:gd name="connsiteY1" fmla="*/ 282283 h 335246"/>
                <a:gd name="connsiteX2" fmla="*/ 169465 w 227478"/>
                <a:gd name="connsiteY2" fmla="*/ 241755 h 335246"/>
                <a:gd name="connsiteX3" fmla="*/ 10593 w 227478"/>
                <a:gd name="connsiteY3" fmla="*/ 93944 h 335246"/>
                <a:gd name="connsiteX4" fmla="*/ 120656 w 227478"/>
                <a:gd name="connsiteY4" fmla="*/ 0 h 335246"/>
                <a:gd name="connsiteX5" fmla="*/ 225183 w 227478"/>
                <a:gd name="connsiteY5" fmla="*/ 39147 h 335246"/>
                <a:gd name="connsiteX6" fmla="*/ 188800 w 227478"/>
                <a:gd name="connsiteY6" fmla="*/ 83812 h 335246"/>
                <a:gd name="connsiteX7" fmla="*/ 117884 w 227478"/>
                <a:gd name="connsiteY7" fmla="*/ 52503 h 335246"/>
                <a:gd name="connsiteX8" fmla="*/ 68613 w 227478"/>
                <a:gd name="connsiteY8" fmla="*/ 88886 h 335246"/>
                <a:gd name="connsiteX9" fmla="*/ 227478 w 227478"/>
                <a:gd name="connsiteY9" fmla="*/ 237158 h 335246"/>
                <a:gd name="connsiteX10" fmla="*/ 115590 w 227478"/>
                <a:gd name="connsiteY10" fmla="*/ 335246 h 335246"/>
                <a:gd name="connsiteX11" fmla="*/ 0 w 227478"/>
                <a:gd name="connsiteY11" fmla="*/ 290573 h 335246"/>
                <a:gd name="connsiteX12" fmla="*/ 36383 w 227478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78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63" y="282283"/>
                  </a:cubicBezTo>
                  <a:cubicBezTo>
                    <a:pt x="147359" y="282283"/>
                    <a:pt x="169465" y="265243"/>
                    <a:pt x="169465" y="241755"/>
                  </a:cubicBezTo>
                  <a:cubicBezTo>
                    <a:pt x="169465" y="179589"/>
                    <a:pt x="10593" y="198932"/>
                    <a:pt x="10593" y="93944"/>
                  </a:cubicBezTo>
                  <a:cubicBezTo>
                    <a:pt x="10593" y="38226"/>
                    <a:pt x="55726" y="0"/>
                    <a:pt x="120656" y="0"/>
                  </a:cubicBezTo>
                  <a:cubicBezTo>
                    <a:pt x="159333" y="0"/>
                    <a:pt x="195256" y="13356"/>
                    <a:pt x="225183" y="39147"/>
                  </a:cubicBezTo>
                  <a:lnTo>
                    <a:pt x="188800" y="83812"/>
                  </a:lnTo>
                  <a:cubicBezTo>
                    <a:pt x="165312" y="63087"/>
                    <a:pt x="141832" y="52503"/>
                    <a:pt x="117884" y="52503"/>
                  </a:cubicBezTo>
                  <a:cubicBezTo>
                    <a:pt x="89338" y="52503"/>
                    <a:pt x="68613" y="67692"/>
                    <a:pt x="68613" y="88886"/>
                  </a:cubicBezTo>
                  <a:cubicBezTo>
                    <a:pt x="68613" y="147359"/>
                    <a:pt x="227478" y="128024"/>
                    <a:pt x="227478" y="237158"/>
                  </a:cubicBezTo>
                  <a:cubicBezTo>
                    <a:pt x="227478" y="295639"/>
                    <a:pt x="182352" y="335246"/>
                    <a:pt x="115590" y="335246"/>
                  </a:cubicBezTo>
                  <a:cubicBezTo>
                    <a:pt x="72758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2" name="Freihandform: Form 271">
              <a:extLst>
                <a:ext uri="{FF2B5EF4-FFF2-40B4-BE49-F238E27FC236}">
                  <a16:creationId xmlns:a16="http://schemas.microsoft.com/office/drawing/2014/main" id="{91760FEA-4737-4183-8A29-75C45D9B69AB}"/>
                </a:ext>
              </a:extLst>
            </p:cNvPr>
            <p:cNvSpPr/>
            <p:nvPr/>
          </p:nvSpPr>
          <p:spPr>
            <a:xfrm>
              <a:off x="4287334" y="3052356"/>
              <a:ext cx="225644" cy="245908"/>
            </a:xfrm>
            <a:custGeom>
              <a:avLst/>
              <a:gdLst>
                <a:gd name="connsiteX0" fmla="*/ 0 w 225644"/>
                <a:gd name="connsiteY0" fmla="*/ 122950 h 245908"/>
                <a:gd name="connsiteX1" fmla="*/ 113748 w 225644"/>
                <a:gd name="connsiteY1" fmla="*/ 0 h 245908"/>
                <a:gd name="connsiteX2" fmla="*/ 225644 w 225644"/>
                <a:gd name="connsiteY2" fmla="*/ 122950 h 245908"/>
                <a:gd name="connsiteX3" fmla="*/ 113748 w 225644"/>
                <a:gd name="connsiteY3" fmla="*/ 245908 h 245908"/>
                <a:gd name="connsiteX4" fmla="*/ 0 w 225644"/>
                <a:gd name="connsiteY4" fmla="*/ 122950 h 245908"/>
                <a:gd name="connsiteX5" fmla="*/ 171308 w 225644"/>
                <a:gd name="connsiteY5" fmla="*/ 123410 h 245908"/>
                <a:gd name="connsiteX6" fmla="*/ 112826 w 225644"/>
                <a:gd name="connsiteY6" fmla="*/ 49731 h 245908"/>
                <a:gd name="connsiteX7" fmla="*/ 54345 w 225644"/>
                <a:gd name="connsiteY7" fmla="*/ 122481 h 245908"/>
                <a:gd name="connsiteX8" fmla="*/ 113287 w 225644"/>
                <a:gd name="connsiteY8" fmla="*/ 196621 h 245908"/>
                <a:gd name="connsiteX9" fmla="*/ 171308 w 225644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44" h="245908">
                  <a:moveTo>
                    <a:pt x="0" y="122950"/>
                  </a:moveTo>
                  <a:cubicBezTo>
                    <a:pt x="0" y="49270"/>
                    <a:pt x="45586" y="0"/>
                    <a:pt x="113748" y="0"/>
                  </a:cubicBezTo>
                  <a:cubicBezTo>
                    <a:pt x="181440" y="0"/>
                    <a:pt x="225644" y="48349"/>
                    <a:pt x="225644" y="122950"/>
                  </a:cubicBezTo>
                  <a:cubicBezTo>
                    <a:pt x="225644" y="196629"/>
                    <a:pt x="181892" y="245908"/>
                    <a:pt x="113748" y="245908"/>
                  </a:cubicBezTo>
                  <a:cubicBezTo>
                    <a:pt x="46055" y="245900"/>
                    <a:pt x="0" y="197090"/>
                    <a:pt x="0" y="122950"/>
                  </a:cubicBezTo>
                  <a:close/>
                  <a:moveTo>
                    <a:pt x="171308" y="123410"/>
                  </a:moveTo>
                  <a:cubicBezTo>
                    <a:pt x="171308" y="77824"/>
                    <a:pt x="148741" y="49731"/>
                    <a:pt x="112826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12" y="196621"/>
                    <a:pt x="113287" y="196621"/>
                  </a:cubicBezTo>
                  <a:cubicBezTo>
                    <a:pt x="149202" y="196629"/>
                    <a:pt x="171308" y="168536"/>
                    <a:pt x="171308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3" name="Freihandform: Form 272">
              <a:extLst>
                <a:ext uri="{FF2B5EF4-FFF2-40B4-BE49-F238E27FC236}">
                  <a16:creationId xmlns:a16="http://schemas.microsoft.com/office/drawing/2014/main" id="{24BA7877-7B7C-4C99-A7FB-8D50CD60EB59}"/>
                </a:ext>
              </a:extLst>
            </p:cNvPr>
            <p:cNvSpPr/>
            <p:nvPr/>
          </p:nvSpPr>
          <p:spPr>
            <a:xfrm>
              <a:off x="4551790" y="3058352"/>
              <a:ext cx="185115" cy="234377"/>
            </a:xfrm>
            <a:custGeom>
              <a:avLst/>
              <a:gdLst>
                <a:gd name="connsiteX0" fmla="*/ 185108 w 185115"/>
                <a:gd name="connsiteY0" fmla="*/ 234378 h 234377"/>
                <a:gd name="connsiteX1" fmla="*/ 0 w 185115"/>
                <a:gd name="connsiteY1" fmla="*/ 234378 h 234377"/>
                <a:gd name="connsiteX2" fmla="*/ 0 w 185115"/>
                <a:gd name="connsiteY2" fmla="*/ 187410 h 234377"/>
                <a:gd name="connsiteX3" fmla="*/ 116963 w 185115"/>
                <a:gd name="connsiteY3" fmla="*/ 46968 h 234377"/>
                <a:gd name="connsiteX4" fmla="*/ 6900 w 185115"/>
                <a:gd name="connsiteY4" fmla="*/ 46968 h 234377"/>
                <a:gd name="connsiteX5" fmla="*/ 6900 w 185115"/>
                <a:gd name="connsiteY5" fmla="*/ 0 h 234377"/>
                <a:gd name="connsiteX6" fmla="*/ 183274 w 185115"/>
                <a:gd name="connsiteY6" fmla="*/ 0 h 234377"/>
                <a:gd name="connsiteX7" fmla="*/ 183274 w 185115"/>
                <a:gd name="connsiteY7" fmla="*/ 46968 h 234377"/>
                <a:gd name="connsiteX8" fmla="*/ 65850 w 185115"/>
                <a:gd name="connsiteY8" fmla="*/ 187410 h 234377"/>
                <a:gd name="connsiteX9" fmla="*/ 185116 w 185115"/>
                <a:gd name="connsiteY9" fmla="*/ 187410 h 234377"/>
                <a:gd name="connsiteX10" fmla="*/ 185116 w 185115"/>
                <a:gd name="connsiteY10" fmla="*/ 234378 h 2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15" h="234377">
                  <a:moveTo>
                    <a:pt x="185108" y="234378"/>
                  </a:moveTo>
                  <a:lnTo>
                    <a:pt x="0" y="234378"/>
                  </a:lnTo>
                  <a:lnTo>
                    <a:pt x="0" y="187410"/>
                  </a:lnTo>
                  <a:lnTo>
                    <a:pt x="116963" y="46968"/>
                  </a:lnTo>
                  <a:lnTo>
                    <a:pt x="6900" y="46968"/>
                  </a:lnTo>
                  <a:lnTo>
                    <a:pt x="6900" y="0"/>
                  </a:lnTo>
                  <a:lnTo>
                    <a:pt x="183274" y="0"/>
                  </a:lnTo>
                  <a:lnTo>
                    <a:pt x="183274" y="46968"/>
                  </a:lnTo>
                  <a:lnTo>
                    <a:pt x="65850" y="187410"/>
                  </a:lnTo>
                  <a:lnTo>
                    <a:pt x="185116" y="187410"/>
                  </a:lnTo>
                  <a:lnTo>
                    <a:pt x="185116" y="23437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4" name="Freihandform: Form 273">
              <a:extLst>
                <a:ext uri="{FF2B5EF4-FFF2-40B4-BE49-F238E27FC236}">
                  <a16:creationId xmlns:a16="http://schemas.microsoft.com/office/drawing/2014/main" id="{CB08555D-77C4-4E49-9021-BEE8D3903ACB}"/>
                </a:ext>
              </a:extLst>
            </p:cNvPr>
            <p:cNvSpPr/>
            <p:nvPr/>
          </p:nvSpPr>
          <p:spPr>
            <a:xfrm>
              <a:off x="478624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84" y="66311"/>
                    <a:pt x="34533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33" y="0"/>
                  </a:cubicBezTo>
                  <a:cubicBezTo>
                    <a:pt x="53884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B95A74DD-3BCD-4CB1-9EC7-F904CAEFCB5B}"/>
                </a:ext>
              </a:extLst>
            </p:cNvPr>
            <p:cNvSpPr/>
            <p:nvPr/>
          </p:nvSpPr>
          <p:spPr>
            <a:xfrm>
              <a:off x="4904378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503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6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36" y="204919"/>
                    <a:pt x="129850" y="195248"/>
                    <a:pt x="145048" y="176834"/>
                  </a:cubicBezTo>
                  <a:lnTo>
                    <a:pt x="145048" y="135845"/>
                  </a:lnTo>
                  <a:cubicBezTo>
                    <a:pt x="132161" y="132621"/>
                    <a:pt x="118805" y="131240"/>
                    <a:pt x="106831" y="131240"/>
                  </a:cubicBezTo>
                  <a:cubicBezTo>
                    <a:pt x="72298" y="131240"/>
                    <a:pt x="52503" y="145048"/>
                    <a:pt x="52503" y="169918"/>
                  </a:cubicBezTo>
                  <a:cubicBezTo>
                    <a:pt x="52494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B756A931-26C4-46F3-AF51-F75487DE5C6F}"/>
                </a:ext>
              </a:extLst>
            </p:cNvPr>
            <p:cNvSpPr/>
            <p:nvPr/>
          </p:nvSpPr>
          <p:spPr>
            <a:xfrm>
              <a:off x="5173423" y="2950592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7" name="Freihandform: Form 276">
              <a:extLst>
                <a:ext uri="{FF2B5EF4-FFF2-40B4-BE49-F238E27FC236}">
                  <a16:creationId xmlns:a16="http://schemas.microsoft.com/office/drawing/2014/main" id="{7EE99256-843E-4966-A958-37FF836D7C17}"/>
                </a:ext>
              </a:extLst>
            </p:cNvPr>
            <p:cNvSpPr/>
            <p:nvPr/>
          </p:nvSpPr>
          <p:spPr>
            <a:xfrm>
              <a:off x="5275974" y="3058344"/>
              <a:ext cx="330180" cy="234386"/>
            </a:xfrm>
            <a:custGeom>
              <a:avLst/>
              <a:gdLst>
                <a:gd name="connsiteX0" fmla="*/ 330180 w 330180"/>
                <a:gd name="connsiteY0" fmla="*/ 0 h 234386"/>
                <a:gd name="connsiteX1" fmla="*/ 260646 w 330180"/>
                <a:gd name="connsiteY1" fmla="*/ 234386 h 234386"/>
                <a:gd name="connsiteX2" fmla="*/ 208143 w 330180"/>
                <a:gd name="connsiteY2" fmla="*/ 234386 h 234386"/>
                <a:gd name="connsiteX3" fmla="*/ 165320 w 330180"/>
                <a:gd name="connsiteY3" fmla="*/ 72298 h 234386"/>
                <a:gd name="connsiteX4" fmla="*/ 164408 w 330180"/>
                <a:gd name="connsiteY4" fmla="*/ 72298 h 234386"/>
                <a:gd name="connsiteX5" fmla="*/ 122037 w 330180"/>
                <a:gd name="connsiteY5" fmla="*/ 234386 h 234386"/>
                <a:gd name="connsiteX6" fmla="*/ 69535 w 330180"/>
                <a:gd name="connsiteY6" fmla="*/ 234386 h 234386"/>
                <a:gd name="connsiteX7" fmla="*/ 0 w 330180"/>
                <a:gd name="connsiteY7" fmla="*/ 0 h 234386"/>
                <a:gd name="connsiteX8" fmla="*/ 57560 w 330180"/>
                <a:gd name="connsiteY8" fmla="*/ 0 h 234386"/>
                <a:gd name="connsiteX9" fmla="*/ 98089 w 330180"/>
                <a:gd name="connsiteY9" fmla="*/ 157943 h 234386"/>
                <a:gd name="connsiteX10" fmla="*/ 99001 w 330180"/>
                <a:gd name="connsiteY10" fmla="*/ 157943 h 234386"/>
                <a:gd name="connsiteX11" fmla="*/ 140451 w 330180"/>
                <a:gd name="connsiteY11" fmla="*/ 0 h 234386"/>
                <a:gd name="connsiteX12" fmla="*/ 190642 w 330180"/>
                <a:gd name="connsiteY12" fmla="*/ 0 h 234386"/>
                <a:gd name="connsiteX13" fmla="*/ 233465 w 330180"/>
                <a:gd name="connsiteY13" fmla="*/ 157943 h 234386"/>
                <a:gd name="connsiteX14" fmla="*/ 234378 w 330180"/>
                <a:gd name="connsiteY14" fmla="*/ 157943 h 234386"/>
                <a:gd name="connsiteX15" fmla="*/ 273524 w 330180"/>
                <a:gd name="connsiteY15" fmla="*/ 0 h 234386"/>
                <a:gd name="connsiteX16" fmla="*/ 330180 w 330180"/>
                <a:gd name="connsiteY16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180" h="234386">
                  <a:moveTo>
                    <a:pt x="330180" y="0"/>
                  </a:moveTo>
                  <a:lnTo>
                    <a:pt x="260646" y="234386"/>
                  </a:lnTo>
                  <a:lnTo>
                    <a:pt x="208143" y="234386"/>
                  </a:lnTo>
                  <a:lnTo>
                    <a:pt x="165320" y="72298"/>
                  </a:lnTo>
                  <a:lnTo>
                    <a:pt x="164408" y="72298"/>
                  </a:lnTo>
                  <a:lnTo>
                    <a:pt x="122037" y="234386"/>
                  </a:lnTo>
                  <a:lnTo>
                    <a:pt x="69535" y="234386"/>
                  </a:lnTo>
                  <a:lnTo>
                    <a:pt x="0" y="0"/>
                  </a:lnTo>
                  <a:lnTo>
                    <a:pt x="57560" y="0"/>
                  </a:lnTo>
                  <a:lnTo>
                    <a:pt x="98089" y="157943"/>
                  </a:lnTo>
                  <a:lnTo>
                    <a:pt x="99001" y="157943"/>
                  </a:lnTo>
                  <a:lnTo>
                    <a:pt x="140451" y="0"/>
                  </a:lnTo>
                  <a:lnTo>
                    <a:pt x="190642" y="0"/>
                  </a:lnTo>
                  <a:lnTo>
                    <a:pt x="233465" y="157943"/>
                  </a:lnTo>
                  <a:lnTo>
                    <a:pt x="234378" y="157943"/>
                  </a:lnTo>
                  <a:lnTo>
                    <a:pt x="273524" y="0"/>
                  </a:lnTo>
                  <a:lnTo>
                    <a:pt x="33018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C1566263-06A3-4DAE-81C0-6CD38991B895}"/>
                </a:ext>
              </a:extLst>
            </p:cNvPr>
            <p:cNvSpPr/>
            <p:nvPr/>
          </p:nvSpPr>
          <p:spPr>
            <a:xfrm>
              <a:off x="5647320" y="2954268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9" name="Freihandform: Form 278">
              <a:extLst>
                <a:ext uri="{FF2B5EF4-FFF2-40B4-BE49-F238E27FC236}">
                  <a16:creationId xmlns:a16="http://schemas.microsoft.com/office/drawing/2014/main" id="{C35799A7-8D8C-4526-BFD3-2B76F61338E3}"/>
                </a:ext>
              </a:extLst>
            </p:cNvPr>
            <p:cNvSpPr/>
            <p:nvPr/>
          </p:nvSpPr>
          <p:spPr>
            <a:xfrm>
              <a:off x="5759802" y="3052356"/>
              <a:ext cx="180502" cy="245891"/>
            </a:xfrm>
            <a:custGeom>
              <a:avLst/>
              <a:gdLst>
                <a:gd name="connsiteX0" fmla="*/ 26235 w 180502"/>
                <a:gd name="connsiteY0" fmla="*/ 174063 h 245891"/>
                <a:gd name="connsiteX1" fmla="*/ 92545 w 180502"/>
                <a:gd name="connsiteY1" fmla="*/ 200314 h 245891"/>
                <a:gd name="connsiteX2" fmla="*/ 127078 w 180502"/>
                <a:gd name="connsiteY2" fmla="*/ 176826 h 245891"/>
                <a:gd name="connsiteX3" fmla="*/ 9655 w 180502"/>
                <a:gd name="connsiteY3" fmla="*/ 72750 h 245891"/>
                <a:gd name="connsiteX4" fmla="*/ 98072 w 180502"/>
                <a:gd name="connsiteY4" fmla="*/ 0 h 245891"/>
                <a:gd name="connsiteX5" fmla="*/ 179120 w 180502"/>
                <a:gd name="connsiteY5" fmla="*/ 24401 h 245891"/>
                <a:gd name="connsiteX6" fmla="*/ 153338 w 180502"/>
                <a:gd name="connsiteY6" fmla="*/ 67223 h 245891"/>
                <a:gd name="connsiteX7" fmla="*/ 97159 w 180502"/>
                <a:gd name="connsiteY7" fmla="*/ 46499 h 245891"/>
                <a:gd name="connsiteX8" fmla="*/ 63539 w 180502"/>
                <a:gd name="connsiteY8" fmla="*/ 68145 h 245891"/>
                <a:gd name="connsiteX9" fmla="*/ 180502 w 180502"/>
                <a:gd name="connsiteY9" fmla="*/ 171751 h 245891"/>
                <a:gd name="connsiteX10" fmla="*/ 90251 w 180502"/>
                <a:gd name="connsiteY10" fmla="*/ 245891 h 245891"/>
                <a:gd name="connsiteX11" fmla="*/ 0 w 180502"/>
                <a:gd name="connsiteY11" fmla="*/ 217337 h 245891"/>
                <a:gd name="connsiteX12" fmla="*/ 26235 w 180502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02" h="245891">
                  <a:moveTo>
                    <a:pt x="26235" y="174063"/>
                  </a:moveTo>
                  <a:cubicBezTo>
                    <a:pt x="49254" y="191563"/>
                    <a:pt x="71821" y="200314"/>
                    <a:pt x="92545" y="200314"/>
                  </a:cubicBezTo>
                  <a:cubicBezTo>
                    <a:pt x="112801" y="200314"/>
                    <a:pt x="127078" y="191103"/>
                    <a:pt x="127078" y="176826"/>
                  </a:cubicBezTo>
                  <a:cubicBezTo>
                    <a:pt x="127078" y="136766"/>
                    <a:pt x="9655" y="151035"/>
                    <a:pt x="9655" y="72750"/>
                  </a:cubicBezTo>
                  <a:cubicBezTo>
                    <a:pt x="9655" y="29467"/>
                    <a:pt x="45578" y="0"/>
                    <a:pt x="98072" y="0"/>
                  </a:cubicBezTo>
                  <a:cubicBezTo>
                    <a:pt x="126166" y="0"/>
                    <a:pt x="154259" y="8282"/>
                    <a:pt x="179120" y="24401"/>
                  </a:cubicBezTo>
                  <a:lnTo>
                    <a:pt x="153338" y="67223"/>
                  </a:lnTo>
                  <a:cubicBezTo>
                    <a:pt x="133074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02" y="93014"/>
                    <a:pt x="180502" y="171751"/>
                  </a:cubicBezTo>
                  <a:cubicBezTo>
                    <a:pt x="180502" y="215956"/>
                    <a:pt x="144127" y="245891"/>
                    <a:pt x="90251" y="245891"/>
                  </a:cubicBezTo>
                  <a:cubicBezTo>
                    <a:pt x="58942" y="245891"/>
                    <a:pt x="27164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0" name="Freihandform: Form 279">
              <a:extLst>
                <a:ext uri="{FF2B5EF4-FFF2-40B4-BE49-F238E27FC236}">
                  <a16:creationId xmlns:a16="http://schemas.microsoft.com/office/drawing/2014/main" id="{A3C8438E-2478-4F49-9168-B8953F43F7B6}"/>
                </a:ext>
              </a:extLst>
            </p:cNvPr>
            <p:cNvSpPr/>
            <p:nvPr/>
          </p:nvSpPr>
          <p:spPr>
            <a:xfrm>
              <a:off x="597652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87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47 w 180510"/>
                <a:gd name="connsiteY8" fmla="*/ 68145 h 245891"/>
                <a:gd name="connsiteX9" fmla="*/ 180510 w 180510"/>
                <a:gd name="connsiteY9" fmla="*/ 171751 h 245891"/>
                <a:gd name="connsiteX10" fmla="*/ 90259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1" y="200314"/>
                    <a:pt x="92545" y="200314"/>
                  </a:cubicBezTo>
                  <a:cubicBezTo>
                    <a:pt x="112809" y="200314"/>
                    <a:pt x="127087" y="191103"/>
                    <a:pt x="127087" y="176826"/>
                  </a:cubicBezTo>
                  <a:cubicBezTo>
                    <a:pt x="127087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2" y="53415"/>
                    <a:pt x="115129" y="46499"/>
                    <a:pt x="97159" y="46499"/>
                  </a:cubicBezTo>
                  <a:cubicBezTo>
                    <a:pt x="76904" y="46499"/>
                    <a:pt x="63547" y="55249"/>
                    <a:pt x="63547" y="68145"/>
                  </a:cubicBezTo>
                  <a:cubicBezTo>
                    <a:pt x="63547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9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1" name="Freihandform: Form 280">
              <a:extLst>
                <a:ext uri="{FF2B5EF4-FFF2-40B4-BE49-F238E27FC236}">
                  <a16:creationId xmlns:a16="http://schemas.microsoft.com/office/drawing/2014/main" id="{79FA65E8-3B49-486C-BBA8-7D5BFAF50194}"/>
                </a:ext>
              </a:extLst>
            </p:cNvPr>
            <p:cNvSpPr/>
            <p:nvPr/>
          </p:nvSpPr>
          <p:spPr>
            <a:xfrm>
              <a:off x="6201863" y="3052356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5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7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4" y="207214"/>
                  </a:lnTo>
                  <a:cubicBezTo>
                    <a:pt x="181432" y="233465"/>
                    <a:pt x="151496" y="245900"/>
                    <a:pt x="116034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5" y="65850"/>
                    <a:pt x="139990" y="45125"/>
                    <a:pt x="109134" y="45125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2" name="Freihandform: Form 281">
              <a:extLst>
                <a:ext uri="{FF2B5EF4-FFF2-40B4-BE49-F238E27FC236}">
                  <a16:creationId xmlns:a16="http://schemas.microsoft.com/office/drawing/2014/main" id="{C4A39B2C-6C0D-42F4-BC52-B3B451C480B1}"/>
                </a:ext>
              </a:extLst>
            </p:cNvPr>
            <p:cNvSpPr/>
            <p:nvPr/>
          </p:nvSpPr>
          <p:spPr>
            <a:xfrm>
              <a:off x="6475831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7 w 201695"/>
                <a:gd name="connsiteY4" fmla="*/ 105910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7" y="80579"/>
                    <a:pt x="54797" y="105910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3" name="Freihandform: Form 282">
              <a:extLst>
                <a:ext uri="{FF2B5EF4-FFF2-40B4-BE49-F238E27FC236}">
                  <a16:creationId xmlns:a16="http://schemas.microsoft.com/office/drawing/2014/main" id="{46BB5A8F-C21E-4D01-B431-807803FB5AD6}"/>
                </a:ext>
              </a:extLst>
            </p:cNvPr>
            <p:cNvSpPr/>
            <p:nvPr/>
          </p:nvSpPr>
          <p:spPr>
            <a:xfrm>
              <a:off x="672606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7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0" y="200314"/>
                    <a:pt x="92545" y="200314"/>
                  </a:cubicBezTo>
                  <a:cubicBezTo>
                    <a:pt x="112809" y="200314"/>
                    <a:pt x="127078" y="191103"/>
                    <a:pt x="127078" y="176826"/>
                  </a:cubicBezTo>
                  <a:cubicBezTo>
                    <a:pt x="127078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5" y="0"/>
                    <a:pt x="154259" y="8282"/>
                    <a:pt x="179128" y="24401"/>
                  </a:cubicBezTo>
                  <a:lnTo>
                    <a:pt x="153337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1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4" name="Freihandform: Form 283">
              <a:extLst>
                <a:ext uri="{FF2B5EF4-FFF2-40B4-BE49-F238E27FC236}">
                  <a16:creationId xmlns:a16="http://schemas.microsoft.com/office/drawing/2014/main" id="{E2B32CBE-81D4-4157-A204-C55B0BFC36FD}"/>
                </a:ext>
              </a:extLst>
            </p:cNvPr>
            <p:cNvSpPr/>
            <p:nvPr/>
          </p:nvSpPr>
          <p:spPr>
            <a:xfrm>
              <a:off x="6951395" y="3052365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8 w 197542"/>
                <a:gd name="connsiteY3" fmla="*/ 0 h 245899"/>
                <a:gd name="connsiteX4" fmla="*/ 197542 w 197542"/>
                <a:gd name="connsiteY4" fmla="*/ 40060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25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60"/>
                  </a:cubicBezTo>
                  <a:lnTo>
                    <a:pt x="159777" y="75974"/>
                  </a:lnTo>
                  <a:cubicBezTo>
                    <a:pt x="145969" y="58013"/>
                    <a:pt x="131231" y="50192"/>
                    <a:pt x="112809" y="50192"/>
                  </a:cubicBezTo>
                  <a:cubicBezTo>
                    <a:pt x="78276" y="50192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62" y="196161"/>
                    <a:pt x="145500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11A2A934-6ABD-469C-A7DA-94052AA3ACD9}"/>
                </a:ext>
              </a:extLst>
            </p:cNvPr>
            <p:cNvSpPr/>
            <p:nvPr/>
          </p:nvSpPr>
          <p:spPr>
            <a:xfrm>
              <a:off x="7195938" y="2950140"/>
              <a:ext cx="201695" cy="342598"/>
            </a:xfrm>
            <a:custGeom>
              <a:avLst/>
              <a:gdLst>
                <a:gd name="connsiteX0" fmla="*/ 201695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7 h 342598"/>
                <a:gd name="connsiteX10" fmla="*/ 55718 w 201695"/>
                <a:gd name="connsiteY10" fmla="*/ 136297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5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7"/>
                  </a:lnTo>
                  <a:lnTo>
                    <a:pt x="55718" y="136297"/>
                  </a:lnTo>
                  <a:cubicBezTo>
                    <a:pt x="69074" y="115573"/>
                    <a:pt x="93483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3BB1BD05-C8A4-4547-A1A7-DBF8092E1E72}"/>
                </a:ext>
              </a:extLst>
            </p:cNvPr>
            <p:cNvSpPr/>
            <p:nvPr/>
          </p:nvSpPr>
          <p:spPr>
            <a:xfrm>
              <a:off x="7451652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86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8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19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8" y="131240"/>
                    <a:pt x="106822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7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0E2A3272-C104-4611-8721-06CADC35166A}"/>
                </a:ext>
              </a:extLst>
            </p:cNvPr>
            <p:cNvSpPr/>
            <p:nvPr/>
          </p:nvSpPr>
          <p:spPr>
            <a:xfrm>
              <a:off x="7694437" y="2946899"/>
              <a:ext cx="143674" cy="345830"/>
            </a:xfrm>
            <a:custGeom>
              <a:avLst/>
              <a:gdLst>
                <a:gd name="connsiteX0" fmla="*/ 143674 w 143674"/>
                <a:gd name="connsiteY0" fmla="*/ 51582 h 345830"/>
                <a:gd name="connsiteX1" fmla="*/ 119734 w 143674"/>
                <a:gd name="connsiteY1" fmla="*/ 46976 h 345830"/>
                <a:gd name="connsiteX2" fmla="*/ 90720 w 143674"/>
                <a:gd name="connsiteY2" fmla="*/ 79667 h 345830"/>
                <a:gd name="connsiteX3" fmla="*/ 90720 w 143674"/>
                <a:gd name="connsiteY3" fmla="*/ 111445 h 345830"/>
                <a:gd name="connsiteX4" fmla="*/ 137235 w 143674"/>
                <a:gd name="connsiteY4" fmla="*/ 111445 h 345830"/>
                <a:gd name="connsiteX5" fmla="*/ 137235 w 143674"/>
                <a:gd name="connsiteY5" fmla="*/ 157031 h 345830"/>
                <a:gd name="connsiteX6" fmla="*/ 91180 w 143674"/>
                <a:gd name="connsiteY6" fmla="*/ 157031 h 345830"/>
                <a:gd name="connsiteX7" fmla="*/ 91180 w 143674"/>
                <a:gd name="connsiteY7" fmla="*/ 345831 h 345830"/>
                <a:gd name="connsiteX8" fmla="*/ 36383 w 143674"/>
                <a:gd name="connsiteY8" fmla="*/ 345831 h 345830"/>
                <a:gd name="connsiteX9" fmla="*/ 36383 w 143674"/>
                <a:gd name="connsiteY9" fmla="*/ 157031 h 345830"/>
                <a:gd name="connsiteX10" fmla="*/ 0 w 143674"/>
                <a:gd name="connsiteY10" fmla="*/ 157031 h 345830"/>
                <a:gd name="connsiteX11" fmla="*/ 0 w 143674"/>
                <a:gd name="connsiteY11" fmla="*/ 111445 h 345830"/>
                <a:gd name="connsiteX12" fmla="*/ 36383 w 143674"/>
                <a:gd name="connsiteY12" fmla="*/ 111445 h 345830"/>
                <a:gd name="connsiteX13" fmla="*/ 36383 w 143674"/>
                <a:gd name="connsiteY13" fmla="*/ 77825 h 345830"/>
                <a:gd name="connsiteX14" fmla="*/ 110983 w 143674"/>
                <a:gd name="connsiteY14" fmla="*/ 0 h 345830"/>
                <a:gd name="connsiteX15" fmla="*/ 143674 w 143674"/>
                <a:gd name="connsiteY15" fmla="*/ 5066 h 345830"/>
                <a:gd name="connsiteX16" fmla="*/ 143674 w 143674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4" h="345830">
                  <a:moveTo>
                    <a:pt x="143674" y="51582"/>
                  </a:moveTo>
                  <a:cubicBezTo>
                    <a:pt x="136306" y="48358"/>
                    <a:pt x="127555" y="46976"/>
                    <a:pt x="119734" y="46976"/>
                  </a:cubicBezTo>
                  <a:cubicBezTo>
                    <a:pt x="99010" y="46976"/>
                    <a:pt x="90720" y="57569"/>
                    <a:pt x="90720" y="79667"/>
                  </a:cubicBezTo>
                  <a:lnTo>
                    <a:pt x="90720" y="111445"/>
                  </a:lnTo>
                  <a:lnTo>
                    <a:pt x="137235" y="111445"/>
                  </a:lnTo>
                  <a:lnTo>
                    <a:pt x="137235" y="157031"/>
                  </a:lnTo>
                  <a:lnTo>
                    <a:pt x="91180" y="157031"/>
                  </a:lnTo>
                  <a:lnTo>
                    <a:pt x="91180" y="345831"/>
                  </a:lnTo>
                  <a:lnTo>
                    <a:pt x="36383" y="345831"/>
                  </a:lnTo>
                  <a:lnTo>
                    <a:pt x="36383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83" y="111445"/>
                  </a:lnTo>
                  <a:lnTo>
                    <a:pt x="36383" y="77825"/>
                  </a:lnTo>
                  <a:cubicBezTo>
                    <a:pt x="36383" y="29015"/>
                    <a:pt x="58490" y="0"/>
                    <a:pt x="110983" y="0"/>
                  </a:cubicBezTo>
                  <a:cubicBezTo>
                    <a:pt x="122958" y="0"/>
                    <a:pt x="134472" y="1382"/>
                    <a:pt x="143674" y="5066"/>
                  </a:cubicBezTo>
                  <a:lnTo>
                    <a:pt x="143674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Freihandform: Form 287">
              <a:extLst>
                <a:ext uri="{FF2B5EF4-FFF2-40B4-BE49-F238E27FC236}">
                  <a16:creationId xmlns:a16="http://schemas.microsoft.com/office/drawing/2014/main" id="{58991AAA-2773-4AF3-A0C0-BCBBC8236D08}"/>
                </a:ext>
              </a:extLst>
            </p:cNvPr>
            <p:cNvSpPr/>
            <p:nvPr/>
          </p:nvSpPr>
          <p:spPr>
            <a:xfrm>
              <a:off x="7867277" y="2982353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Freihandform: Form 288">
              <a:extLst>
                <a:ext uri="{FF2B5EF4-FFF2-40B4-BE49-F238E27FC236}">
                  <a16:creationId xmlns:a16="http://schemas.microsoft.com/office/drawing/2014/main" id="{BE6DF724-2E49-4DC2-A0EC-8498D22EADAE}"/>
                </a:ext>
              </a:extLst>
            </p:cNvPr>
            <p:cNvSpPr/>
            <p:nvPr/>
          </p:nvSpPr>
          <p:spPr>
            <a:xfrm>
              <a:off x="8049797" y="3052356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4 w 214130"/>
                <a:gd name="connsiteY2" fmla="*/ 0 h 245899"/>
                <a:gd name="connsiteX3" fmla="*/ 214131 w 214130"/>
                <a:gd name="connsiteY3" fmla="*/ 119266 h 245899"/>
                <a:gd name="connsiteX4" fmla="*/ 213209 w 214130"/>
                <a:gd name="connsiteY4" fmla="*/ 141824 h 245899"/>
                <a:gd name="connsiteX5" fmla="*/ 55727 w 214130"/>
                <a:gd name="connsiteY5" fmla="*/ 141824 h 245899"/>
                <a:gd name="connsiteX6" fmla="*/ 116510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88 w 214130"/>
                <a:gd name="connsiteY10" fmla="*/ 101765 h 245899"/>
                <a:gd name="connsiteX11" fmla="*/ 161159 w 214130"/>
                <a:gd name="connsiteY11" fmla="*/ 101765 h 245899"/>
                <a:gd name="connsiteX12" fmla="*/ 109125 w 214130"/>
                <a:gd name="connsiteY12" fmla="*/ 45125 h 245899"/>
                <a:gd name="connsiteX13" fmla="*/ 5478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4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09" y="141824"/>
                  </a:cubicBezTo>
                  <a:lnTo>
                    <a:pt x="55727" y="141824"/>
                  </a:lnTo>
                  <a:cubicBezTo>
                    <a:pt x="61714" y="178207"/>
                    <a:pt x="83351" y="198924"/>
                    <a:pt x="116510" y="198924"/>
                  </a:cubicBezTo>
                  <a:cubicBezTo>
                    <a:pt x="138147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23" y="233465"/>
                    <a:pt x="151487" y="245900"/>
                    <a:pt x="116033" y="245900"/>
                  </a:cubicBezTo>
                  <a:close/>
                  <a:moveTo>
                    <a:pt x="54788" y="101765"/>
                  </a:moveTo>
                  <a:lnTo>
                    <a:pt x="161159" y="101765"/>
                  </a:lnTo>
                  <a:cubicBezTo>
                    <a:pt x="158864" y="65850"/>
                    <a:pt x="139981" y="45125"/>
                    <a:pt x="109125" y="45125"/>
                  </a:cubicBezTo>
                  <a:cubicBezTo>
                    <a:pt x="78729" y="45134"/>
                    <a:pt x="59394" y="65390"/>
                    <a:pt x="5478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Freihandform: Form 289">
              <a:extLst>
                <a:ext uri="{FF2B5EF4-FFF2-40B4-BE49-F238E27FC236}">
                  <a16:creationId xmlns:a16="http://schemas.microsoft.com/office/drawing/2014/main" id="{6F2B2A44-D3B9-4839-8780-2523FC7C0CFA}"/>
                </a:ext>
              </a:extLst>
            </p:cNvPr>
            <p:cNvSpPr/>
            <p:nvPr/>
          </p:nvSpPr>
          <p:spPr>
            <a:xfrm>
              <a:off x="8323756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Freihandform: Form 290">
              <a:extLst>
                <a:ext uri="{FF2B5EF4-FFF2-40B4-BE49-F238E27FC236}">
                  <a16:creationId xmlns:a16="http://schemas.microsoft.com/office/drawing/2014/main" id="{A7B61303-4423-4700-A145-E52E0AAF82EC}"/>
                </a:ext>
              </a:extLst>
            </p:cNvPr>
            <p:cNvSpPr/>
            <p:nvPr/>
          </p:nvSpPr>
          <p:spPr>
            <a:xfrm>
              <a:off x="8741466" y="2935854"/>
              <a:ext cx="31309" cy="452200"/>
            </a:xfrm>
            <a:custGeom>
              <a:avLst/>
              <a:gdLst>
                <a:gd name="connsiteX0" fmla="*/ 31309 w 31309"/>
                <a:gd name="connsiteY0" fmla="*/ 452201 h 452200"/>
                <a:gd name="connsiteX1" fmla="*/ 0 w 31309"/>
                <a:gd name="connsiteY1" fmla="*/ 452201 h 452200"/>
                <a:gd name="connsiteX2" fmla="*/ 0 w 31309"/>
                <a:gd name="connsiteY2" fmla="*/ 0 h 452200"/>
                <a:gd name="connsiteX3" fmla="*/ 31309 w 31309"/>
                <a:gd name="connsiteY3" fmla="*/ 0 h 452200"/>
                <a:gd name="connsiteX4" fmla="*/ 31309 w 31309"/>
                <a:gd name="connsiteY4" fmla="*/ 452201 h 45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452200">
                  <a:moveTo>
                    <a:pt x="31309" y="452201"/>
                  </a:moveTo>
                  <a:lnTo>
                    <a:pt x="0" y="452201"/>
                  </a:lnTo>
                  <a:lnTo>
                    <a:pt x="0" y="0"/>
                  </a:lnTo>
                  <a:lnTo>
                    <a:pt x="31309" y="0"/>
                  </a:lnTo>
                  <a:lnTo>
                    <a:pt x="31309" y="45220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2" name="Freihandform: Form 291">
              <a:extLst>
                <a:ext uri="{FF2B5EF4-FFF2-40B4-BE49-F238E27FC236}">
                  <a16:creationId xmlns:a16="http://schemas.microsoft.com/office/drawing/2014/main" id="{CAA87110-575D-4D1F-A310-D946F13A5FF3}"/>
                </a:ext>
              </a:extLst>
            </p:cNvPr>
            <p:cNvSpPr/>
            <p:nvPr/>
          </p:nvSpPr>
          <p:spPr>
            <a:xfrm>
              <a:off x="8970820" y="2968545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8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3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8 w 398768"/>
                <a:gd name="connsiteY9" fmla="*/ 0 h 324184"/>
                <a:gd name="connsiteX10" fmla="*/ 317260 w 398768"/>
                <a:gd name="connsiteY10" fmla="*/ 324185 h 324184"/>
                <a:gd name="connsiteX11" fmla="*/ 257857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8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3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8" y="0"/>
                  </a:lnTo>
                  <a:lnTo>
                    <a:pt x="317260" y="324185"/>
                  </a:lnTo>
                  <a:lnTo>
                    <a:pt x="257857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3" name="Freihandform: Form 292">
              <a:extLst>
                <a:ext uri="{FF2B5EF4-FFF2-40B4-BE49-F238E27FC236}">
                  <a16:creationId xmlns:a16="http://schemas.microsoft.com/office/drawing/2014/main" id="{284BB8DF-265D-4207-A163-D86AF4D1D7FF}"/>
                </a:ext>
              </a:extLst>
            </p:cNvPr>
            <p:cNvSpPr/>
            <p:nvPr/>
          </p:nvSpPr>
          <p:spPr>
            <a:xfrm>
              <a:off x="941575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4" name="Freihandform: Form 293">
              <a:extLst>
                <a:ext uri="{FF2B5EF4-FFF2-40B4-BE49-F238E27FC236}">
                  <a16:creationId xmlns:a16="http://schemas.microsoft.com/office/drawing/2014/main" id="{4DB9C8B7-8322-4B56-AFD9-905DC7EF49E5}"/>
                </a:ext>
              </a:extLst>
            </p:cNvPr>
            <p:cNvSpPr/>
            <p:nvPr/>
          </p:nvSpPr>
          <p:spPr>
            <a:xfrm>
              <a:off x="9528805" y="2963018"/>
              <a:ext cx="227486" cy="335246"/>
            </a:xfrm>
            <a:custGeom>
              <a:avLst/>
              <a:gdLst>
                <a:gd name="connsiteX0" fmla="*/ 36383 w 227486"/>
                <a:gd name="connsiteY0" fmla="*/ 245900 h 335246"/>
                <a:gd name="connsiteX1" fmla="*/ 116971 w 227486"/>
                <a:gd name="connsiteY1" fmla="*/ 282283 h 335246"/>
                <a:gd name="connsiteX2" fmla="*/ 169466 w 227486"/>
                <a:gd name="connsiteY2" fmla="*/ 241755 h 335246"/>
                <a:gd name="connsiteX3" fmla="*/ 10601 w 227486"/>
                <a:gd name="connsiteY3" fmla="*/ 93944 h 335246"/>
                <a:gd name="connsiteX4" fmla="*/ 120656 w 227486"/>
                <a:gd name="connsiteY4" fmla="*/ 0 h 335246"/>
                <a:gd name="connsiteX5" fmla="*/ 225183 w 227486"/>
                <a:gd name="connsiteY5" fmla="*/ 39147 h 335246"/>
                <a:gd name="connsiteX6" fmla="*/ 188808 w 227486"/>
                <a:gd name="connsiteY6" fmla="*/ 83812 h 335246"/>
                <a:gd name="connsiteX7" fmla="*/ 117884 w 227486"/>
                <a:gd name="connsiteY7" fmla="*/ 52503 h 335246"/>
                <a:gd name="connsiteX8" fmla="*/ 68613 w 227486"/>
                <a:gd name="connsiteY8" fmla="*/ 88886 h 335246"/>
                <a:gd name="connsiteX9" fmla="*/ 227486 w 227486"/>
                <a:gd name="connsiteY9" fmla="*/ 237158 h 335246"/>
                <a:gd name="connsiteX10" fmla="*/ 115590 w 227486"/>
                <a:gd name="connsiteY10" fmla="*/ 335246 h 335246"/>
                <a:gd name="connsiteX11" fmla="*/ 0 w 227486"/>
                <a:gd name="connsiteY11" fmla="*/ 290573 h 335246"/>
                <a:gd name="connsiteX12" fmla="*/ 36383 w 227486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86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71" y="282283"/>
                  </a:cubicBezTo>
                  <a:cubicBezTo>
                    <a:pt x="147359" y="282283"/>
                    <a:pt x="169466" y="265243"/>
                    <a:pt x="169466" y="241755"/>
                  </a:cubicBezTo>
                  <a:cubicBezTo>
                    <a:pt x="169466" y="179589"/>
                    <a:pt x="10601" y="198932"/>
                    <a:pt x="10601" y="93944"/>
                  </a:cubicBezTo>
                  <a:cubicBezTo>
                    <a:pt x="10601" y="38226"/>
                    <a:pt x="55727" y="0"/>
                    <a:pt x="120656" y="0"/>
                  </a:cubicBezTo>
                  <a:cubicBezTo>
                    <a:pt x="159342" y="0"/>
                    <a:pt x="195256" y="13356"/>
                    <a:pt x="225183" y="39147"/>
                  </a:cubicBezTo>
                  <a:lnTo>
                    <a:pt x="188808" y="83812"/>
                  </a:lnTo>
                  <a:cubicBezTo>
                    <a:pt x="165321" y="63087"/>
                    <a:pt x="141841" y="52503"/>
                    <a:pt x="117884" y="52503"/>
                  </a:cubicBezTo>
                  <a:cubicBezTo>
                    <a:pt x="89339" y="52503"/>
                    <a:pt x="68613" y="67692"/>
                    <a:pt x="68613" y="88886"/>
                  </a:cubicBezTo>
                  <a:cubicBezTo>
                    <a:pt x="68613" y="147359"/>
                    <a:pt x="227486" y="128024"/>
                    <a:pt x="227486" y="237158"/>
                  </a:cubicBezTo>
                  <a:cubicBezTo>
                    <a:pt x="227486" y="295639"/>
                    <a:pt x="182352" y="335246"/>
                    <a:pt x="115590" y="335246"/>
                  </a:cubicBezTo>
                  <a:cubicBezTo>
                    <a:pt x="72767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5" name="Freihandform: Form 294">
              <a:extLst>
                <a:ext uri="{FF2B5EF4-FFF2-40B4-BE49-F238E27FC236}">
                  <a16:creationId xmlns:a16="http://schemas.microsoft.com/office/drawing/2014/main" id="{17E12F20-0FCA-412C-B4C2-F749AFFCAD6E}"/>
                </a:ext>
              </a:extLst>
            </p:cNvPr>
            <p:cNvSpPr/>
            <p:nvPr/>
          </p:nvSpPr>
          <p:spPr>
            <a:xfrm>
              <a:off x="9804959" y="3052356"/>
              <a:ext cx="225636" cy="245908"/>
            </a:xfrm>
            <a:custGeom>
              <a:avLst/>
              <a:gdLst>
                <a:gd name="connsiteX0" fmla="*/ 0 w 225636"/>
                <a:gd name="connsiteY0" fmla="*/ 122950 h 245908"/>
                <a:gd name="connsiteX1" fmla="*/ 113739 w 225636"/>
                <a:gd name="connsiteY1" fmla="*/ 0 h 245908"/>
                <a:gd name="connsiteX2" fmla="*/ 225636 w 225636"/>
                <a:gd name="connsiteY2" fmla="*/ 122950 h 245908"/>
                <a:gd name="connsiteX3" fmla="*/ 113739 w 225636"/>
                <a:gd name="connsiteY3" fmla="*/ 245908 h 245908"/>
                <a:gd name="connsiteX4" fmla="*/ 0 w 225636"/>
                <a:gd name="connsiteY4" fmla="*/ 122950 h 245908"/>
                <a:gd name="connsiteX5" fmla="*/ 171300 w 225636"/>
                <a:gd name="connsiteY5" fmla="*/ 123410 h 245908"/>
                <a:gd name="connsiteX6" fmla="*/ 112818 w 225636"/>
                <a:gd name="connsiteY6" fmla="*/ 49731 h 245908"/>
                <a:gd name="connsiteX7" fmla="*/ 54345 w 225636"/>
                <a:gd name="connsiteY7" fmla="*/ 122481 h 245908"/>
                <a:gd name="connsiteX8" fmla="*/ 113287 w 225636"/>
                <a:gd name="connsiteY8" fmla="*/ 196621 h 245908"/>
                <a:gd name="connsiteX9" fmla="*/ 171300 w 225636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36" h="245908">
                  <a:moveTo>
                    <a:pt x="0" y="122950"/>
                  </a:moveTo>
                  <a:cubicBezTo>
                    <a:pt x="0" y="49270"/>
                    <a:pt x="45586" y="0"/>
                    <a:pt x="113739" y="0"/>
                  </a:cubicBezTo>
                  <a:cubicBezTo>
                    <a:pt x="181431" y="0"/>
                    <a:pt x="225636" y="48349"/>
                    <a:pt x="225636" y="122950"/>
                  </a:cubicBezTo>
                  <a:cubicBezTo>
                    <a:pt x="225636" y="196629"/>
                    <a:pt x="181884" y="245908"/>
                    <a:pt x="113739" y="245908"/>
                  </a:cubicBezTo>
                  <a:cubicBezTo>
                    <a:pt x="46047" y="245900"/>
                    <a:pt x="0" y="197090"/>
                    <a:pt x="0" y="122950"/>
                  </a:cubicBezTo>
                  <a:close/>
                  <a:moveTo>
                    <a:pt x="171300" y="123410"/>
                  </a:moveTo>
                  <a:cubicBezTo>
                    <a:pt x="171300" y="77824"/>
                    <a:pt x="148741" y="49731"/>
                    <a:pt x="112818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03" y="196621"/>
                    <a:pt x="113287" y="196621"/>
                  </a:cubicBezTo>
                  <a:cubicBezTo>
                    <a:pt x="149193" y="196629"/>
                    <a:pt x="171300" y="168536"/>
                    <a:pt x="171300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21" name="Freihandform: Form 92">
            <a:extLst>
              <a:ext uri="{FF2B5EF4-FFF2-40B4-BE49-F238E27FC236}">
                <a16:creationId xmlns:a16="http://schemas.microsoft.com/office/drawing/2014/main" id="{429B2815-4C5E-AE4F-A498-0A0195A8BCB9}"/>
              </a:ext>
            </a:extLst>
          </p:cNvPr>
          <p:cNvSpPr/>
          <p:nvPr userDrawn="1"/>
        </p:nvSpPr>
        <p:spPr>
          <a:xfrm>
            <a:off x="10272160" y="300704"/>
            <a:ext cx="1403903" cy="535987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rgbClr val="041E42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430C106-4EB7-47B9-8F1D-0BFCFBEAEC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1CD45B2-C7E2-4C43-84ED-BFB6DC4E84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8319" y="3431381"/>
            <a:ext cx="3571200" cy="2769394"/>
          </a:xfrm>
          <a:solidFill>
            <a:schemeClr val="bg1"/>
          </a:solidFill>
        </p:spPr>
        <p:txBody>
          <a:bodyPr wrap="square" lIns="180000" tIns="180000" rIns="360000" bIns="18000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FE029E8-09EC-45DC-B2BB-25B2B1C145AC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D3613C15-D9EF-4DBF-8B74-3D509941276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8E0568E8-B36B-404B-9E38-F367F7DFCF81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4EB1BCB-8EFE-43BA-AE53-9984B9F11B54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B189016C-ED2A-474D-A417-5E0F497B514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9856DE16-FDEC-4063-8C73-CBF95C803B59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3759D02-378A-4C73-8CA4-E4FB217B94E6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612F9041-226E-4E23-B398-1F7D9044B5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18D5641-3E9B-4072-8388-BB46336975A8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70072D5-E220-4946-9EE1-80DFB58C3A38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0A43D9D6-7790-4E94-8493-67757E3373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8E7E0758-62D1-453D-B55E-FDC4CCE3C6E4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4310EC5-28E5-4146-A748-79C1FCA769F0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2D5BC590-E7B8-48F8-AAC5-6799BCBDEB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DF5B0BA6-3F36-41A3-8125-15AA496849C8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7018BC3-E9D3-4DC9-9093-D415FD96426D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8F1A063-9C9E-48DF-9813-A4EA4497C2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F79F31FE-DC89-4DED-A231-3D8DCBF48D98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7DF8EA8-3E45-431B-90A0-140583E1D079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B300055A-A6D6-4CE1-986A-0930765E02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0B2C23E7-0482-498A-B984-44C6CF40F3B6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C7A65B2-F352-4DA5-9A36-9105D478D2C2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D9AE9BE-891D-491B-98F9-78F552DDC8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259A48F-52D3-481E-86F8-360FED16B872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ADB04CE-94F5-430A-9FF1-01DE211731F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50411913-7BEC-4F33-BDE8-154F93D079C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A40BADBF-D4AC-4B48-AE66-D79BD3055404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CB5DA2A5-4F29-4DF6-A342-0A7B4878AAB5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E820BD84-9211-4C19-A40B-4121AD892514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21C7D9CA-751B-4809-9338-47DDC5D1A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D1C22B97-CFD8-4E78-BF7E-02A71F190F83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1320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6A4CB3A7-ACED-41D0-8E35-318CD3693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EBFE18BD-74E5-4328-B98A-9C6FC4FCA59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7" y="1631156"/>
            <a:ext cx="11157746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51E223D-AC82-4D54-A383-0E2DF84E2E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8317" y="5690271"/>
            <a:ext cx="11157746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05EC4CE8-43C6-428F-9E62-CB38E0CE6447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142AAD46-67A3-4127-B280-D69434A7D72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40850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8C7F934-D7F3-42CA-88CC-3AEB50FF1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B4B72DA6-61BE-42F9-8894-08B159BC7C7D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7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0E2D86CD-8C0A-461A-82DE-DEB73A6F9AC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8317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4E7C39B-83E8-467B-AD57-55CA08888B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06331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CE124A50-74B4-4E32-AA56-DCD775B1300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06331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BF87D6FE-3E8F-49D4-B36A-217C95B23AF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381895C7-DC25-40C3-9857-7AF6421845A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627449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9995CF9C-9826-4946-A085-FF49199BE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E2430412-20B6-4F53-A77B-A26A49135E4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7" y="1631156"/>
            <a:ext cx="3569758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48CA2DF0-5B92-4CE6-AF1A-CC648431BB9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18317" y="5690271"/>
            <a:ext cx="3569758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8">
            <a:extLst>
              <a:ext uri="{FF2B5EF4-FFF2-40B4-BE49-F238E27FC236}">
                <a16:creationId xmlns:a16="http://schemas.microsoft.com/office/drawing/2014/main" id="{002E2471-F223-4896-A895-CE0AF20E11D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106305" y="1631156"/>
            <a:ext cx="3569758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470E7482-A37A-44BE-ADE5-A0B3B10E8FC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06305" y="5690271"/>
            <a:ext cx="3569758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3FD09289-F115-4464-A726-812A11720CA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12311" y="1631156"/>
            <a:ext cx="3569758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F3F11CE6-C8CF-4ABE-B3B8-C00D74678A9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2311" y="5690271"/>
            <a:ext cx="3569758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A7347480-9F70-4378-B138-B8B7C593F86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DD6E75C0-962B-4DE7-8D95-4D4F45AB824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721892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11155366" cy="4569619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BD0D2AE-225B-47F4-A359-0020AE80A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451A9BBC-9F96-4260-BC40-C6D3D23D6FB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A13C3F65-DA83-41EB-89FA-4255A4DF2ED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854430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5469733" cy="4569619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BD0D2AE-225B-47F4-A359-0020AE80A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451A9BBC-9F96-4260-BC40-C6D3D23D6FB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33608DEB-69EC-4E8F-A567-9E3EA36C3624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206330" y="1631156"/>
            <a:ext cx="5469733" cy="4569619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6BCD0DB3-1746-4FA4-9BF2-5CC1A0E5F8B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577756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086500-15A5-49F2-8B64-748C19FDAB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04861" y="1631156"/>
            <a:ext cx="3571200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84BE64F-DBB2-4BF3-ABE7-E92BB978D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0D6633D6-CA56-460E-AA1C-9A4D6A62324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18317" y="1631157"/>
            <a:ext cx="7363752" cy="4569620"/>
          </a:xfrm>
        </p:spPr>
        <p:txBody>
          <a:bodyPr/>
          <a:lstStyle/>
          <a:p>
            <a:pPr lvl="0"/>
            <a:r>
              <a:rPr lang="de-DE"/>
              <a:t> 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7CDDF36A-B7A5-4E95-A5D6-07C5FCED28B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3506DC8-BD94-4752-B673-EB18A5638B4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85792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| Ro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1925060-7FCF-4CBC-B0DA-0731E3E98579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Textplatzhalter 9">
            <a:extLst>
              <a:ext uri="{FF2B5EF4-FFF2-40B4-BE49-F238E27FC236}">
                <a16:creationId xmlns:a16="http://schemas.microsoft.com/office/drawing/2014/main" id="{A9FF3927-CA7B-4361-998A-3A60E5D23F5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1" name="Freihandform: Form 60">
            <a:extLst>
              <a:ext uri="{FF2B5EF4-FFF2-40B4-BE49-F238E27FC236}">
                <a16:creationId xmlns:a16="http://schemas.microsoft.com/office/drawing/2014/main" id="{BC19384B-1D95-4C0D-B3F0-61407A015F56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93DCB95B-459E-4AC2-8E4B-6C459242A95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ECEE8D8-DF92-4CFD-A29A-DD98DFA7EC69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E89218EB-083A-44EC-89C4-86451CE1FC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399474D3-E53E-4ABA-9B61-C9BB08A3276B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7879191-3BE6-4B4E-A6B9-7EE964614B4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4484379-E642-433C-B53A-1DEE6A9DD4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C54D7A6-C6ED-4572-B49C-338FB11A042A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82F9D16-DA93-44FA-B850-67D0B6AD397D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201A13C-71DC-4465-B39F-F196A5035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D957CB6E-B09B-4A22-86F0-6C38F81B2E90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38DB7D0C-ACAA-4A6B-8088-624B0BC24502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E8B86ED7-0F29-451E-8C7D-9B396D5E20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ED76FB85-7BBB-4E8D-A853-5FCC744835E1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1524020-40DB-450A-AEE5-3E1B459B16B5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539CBAAA-C79F-4BC9-9AF3-18ED0AF9E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65F01F83-E434-491F-8893-1CE5848F9B6D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99ECB07F-83AC-4A69-A930-C51459FBE5BA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B6DF347-64CA-4BE1-8952-3E80EBD0082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F82628F6-8442-4626-962B-E947FDA8C0C0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9B4EC5D-DF7B-4D80-86D6-C95B0B60B325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7A230F03-8AA4-4AAE-999A-6E872C727A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1C36145D-6FFB-4D3A-85D6-2ACFDAE5F5D2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0D1EC147-B041-40BC-BA8D-878A722616DE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4A4E226E-C413-42F0-AA69-108B05313D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4A93327E-EEC7-45A4-9C35-410D17ECB865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0EC1AF1A-26A7-479B-A176-8997B58ED4D1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80D76042-D322-4CD0-B41A-CE295CEC6835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397EC952-23B6-4728-82B6-3D733107C66E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8CEDBB7-9662-435E-8F5A-F3EE555D990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24365663-FE3F-47D4-A8D7-729A38C4987D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92EE37E1-8647-4AEB-9AEE-FF0711435F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C2B4E3D7-0BC3-4BC1-B86B-DD51E9785755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3029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B908A7-A1D8-4FB7-9CB4-BDC3E20D2B6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A9DBE995-23F2-460C-86CC-60633EED251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024811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B25E710-D493-4189-8EF7-00ABE0AB56E5}"/>
              </a:ext>
            </a:extLst>
          </p:cNvPr>
          <p:cNvSpPr/>
          <p:nvPr userDrawn="1"/>
        </p:nvSpPr>
        <p:spPr>
          <a:xfrm>
            <a:off x="518317" y="1631155"/>
            <a:ext cx="11157746" cy="45696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2F509DB-422D-41FB-A02B-822A0A204E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97190" y="2835964"/>
            <a:ext cx="7200000" cy="2160000"/>
          </a:xfrm>
        </p:spPr>
        <p:txBody>
          <a:bodyPr rIns="0" anchor="ctr" anchorCtr="0">
            <a:norm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„Mastertextformat bearbeiten“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F862885B-685B-4384-B9F0-6266AD0BDA7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C209FD4A-C7D6-4B64-AD6B-63B653F6B00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35489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2519410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4">
                  <a:alpha val="50000"/>
                </a:schemeClr>
              </a:gs>
              <a:gs pos="5000">
                <a:schemeClr val="accent4"/>
              </a:gs>
              <a:gs pos="100000">
                <a:schemeClr val="accent4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 </a:t>
            </a:r>
          </a:p>
        </p:txBody>
      </p:sp>
      <p:sp>
        <p:nvSpPr>
          <p:cNvPr id="59" name="Bildplatzhalter 60">
            <a:extLst>
              <a:ext uri="{FF2B5EF4-FFF2-40B4-BE49-F238E27FC236}">
                <a16:creationId xmlns:a16="http://schemas.microsoft.com/office/drawing/2014/main" id="{92CE05A2-27DE-4191-8A63-5C7C7ACA37C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BD8B083-79E8-44E1-BA43-E993160F02E1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Vielen Dank</a:t>
            </a:r>
            <a:br>
              <a:rPr lang="de-DE"/>
            </a:br>
            <a:r>
              <a:rPr lang="de-DE"/>
              <a:t>für Ihre Aufmerksamkeit!</a:t>
            </a: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0C3B9D07-F821-46AB-95B1-D19222D00FD7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22380010-0050-441D-BA9C-97B5835158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C13F555F-C26E-4B21-A77C-6CA7380155F8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705760C0-8935-4141-9AEE-BB96816B3799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EBE9DAC0-7790-4611-B602-40B3CD18C73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1FBE1EE4-3D10-40E7-9F1E-627A51E59C61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B25E0919-4E1B-4A97-A1C2-6AE7D2A59920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849FBB7D-3378-4F36-B80B-3E0BDCA834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6141066E-6566-420D-B6EB-886DF25CCD11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87A742EA-EC3D-47DE-9C2D-533639983C8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846719FD-F8B1-447D-8561-7A1E238E8A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2ABDBC31-5895-4E49-887D-433A43B32DB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AEF4BF1C-C847-48A1-A7BF-3BEE82EF1C59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1CF60061-B6B2-4FE6-9482-278DFD418B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73D29742-39CB-41E5-B346-BADC9743E285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D55A5473-7182-4B24-8843-51E2ADF3D492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204A095A-3A24-4259-92A8-4500898AC0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82971EAD-9159-4D12-8726-4FBE6AFA23F0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D1FF9524-93DA-476B-89EA-9E475617F2D9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8DFFD401-DC7D-4F6D-82BF-DC6E357E59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36A6CE9C-ECB8-42E6-B61D-3A0F3C4D7A56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20076CAA-CFEC-4359-9762-07ED0661EE26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91EF761B-D6BF-475C-8903-456E1F0576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413A99B1-6C23-41A6-A82B-0EC01B779471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16CE4EF7-E819-4747-A9E4-8C86F991481E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3B78DE36-86EF-463F-A7E5-0CD3043C9F4D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EAD15804-28A7-4690-889A-7D8A91A7D478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9023C4F7-97EF-4D2F-9223-1AFEE89D9C68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D5072DFD-BA29-43BB-A0B1-01F593A0242E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A9C77A6D-E177-4B69-A5A1-6B77E4229F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701274C6-5A42-4082-BC4B-8532BFB4CC40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21" name="Grafik 3">
            <a:extLst>
              <a:ext uri="{FF2B5EF4-FFF2-40B4-BE49-F238E27FC236}">
                <a16:creationId xmlns:a16="http://schemas.microsoft.com/office/drawing/2014/main" id="{06D91DA4-2AD4-4044-ACD2-26BD75F591CE}"/>
              </a:ext>
            </a:extLst>
          </p:cNvPr>
          <p:cNvGrpSpPr/>
          <p:nvPr userDrawn="1"/>
        </p:nvGrpSpPr>
        <p:grpSpPr>
          <a:xfrm>
            <a:off x="510639" y="293688"/>
            <a:ext cx="2631832" cy="563562"/>
            <a:chOff x="4011188" y="1936931"/>
            <a:chExt cx="6776742" cy="1451124"/>
          </a:xfrm>
          <a:solidFill>
            <a:schemeClr val="tx1"/>
          </a:solidFill>
        </p:grpSpPr>
        <p:sp>
          <p:nvSpPr>
            <p:cNvPr id="122" name="Freihandform: Form 213">
              <a:extLst>
                <a:ext uri="{FF2B5EF4-FFF2-40B4-BE49-F238E27FC236}">
                  <a16:creationId xmlns:a16="http://schemas.microsoft.com/office/drawing/2014/main" id="{8B89B079-6887-4745-861A-0D8F365E140C}"/>
                </a:ext>
              </a:extLst>
            </p:cNvPr>
            <p:cNvSpPr/>
            <p:nvPr/>
          </p:nvSpPr>
          <p:spPr>
            <a:xfrm>
              <a:off x="4034676" y="1955336"/>
              <a:ext cx="203537" cy="324184"/>
            </a:xfrm>
            <a:custGeom>
              <a:avLst/>
              <a:gdLst>
                <a:gd name="connsiteX0" fmla="*/ 203538 w 203537"/>
                <a:gd name="connsiteY0" fmla="*/ 52963 h 324184"/>
                <a:gd name="connsiteX1" fmla="*/ 57561 w 203537"/>
                <a:gd name="connsiteY1" fmla="*/ 52963 h 324184"/>
                <a:gd name="connsiteX2" fmla="*/ 57561 w 203537"/>
                <a:gd name="connsiteY2" fmla="*/ 133551 h 324184"/>
                <a:gd name="connsiteX3" fmla="*/ 166694 w 203537"/>
                <a:gd name="connsiteY3" fmla="*/ 133551 h 324184"/>
                <a:gd name="connsiteX4" fmla="*/ 166694 w 203537"/>
                <a:gd name="connsiteY4" fmla="*/ 186045 h 324184"/>
                <a:gd name="connsiteX5" fmla="*/ 57561 w 203537"/>
                <a:gd name="connsiteY5" fmla="*/ 186045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63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63"/>
                  </a:moveTo>
                  <a:lnTo>
                    <a:pt x="57561" y="52963"/>
                  </a:lnTo>
                  <a:lnTo>
                    <a:pt x="57561" y="133551"/>
                  </a:lnTo>
                  <a:lnTo>
                    <a:pt x="166694" y="133551"/>
                  </a:lnTo>
                  <a:lnTo>
                    <a:pt x="166694" y="186045"/>
                  </a:lnTo>
                  <a:lnTo>
                    <a:pt x="57561" y="186045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3" name="Freihandform: Form 214">
              <a:extLst>
                <a:ext uri="{FF2B5EF4-FFF2-40B4-BE49-F238E27FC236}">
                  <a16:creationId xmlns:a16="http://schemas.microsoft.com/office/drawing/2014/main" id="{8FAFB012-CEB2-E447-869E-FF6F76A303A2}"/>
                </a:ext>
              </a:extLst>
            </p:cNvPr>
            <p:cNvSpPr/>
            <p:nvPr/>
          </p:nvSpPr>
          <p:spPr>
            <a:xfrm>
              <a:off x="426950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94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84 w 141832"/>
                <a:gd name="connsiteY7" fmla="*/ 5979 h 240364"/>
                <a:gd name="connsiteX8" fmla="*/ 53884 w 141832"/>
                <a:gd name="connsiteY8" fmla="*/ 35454 h 240364"/>
                <a:gd name="connsiteX9" fmla="*/ 54797 w 141832"/>
                <a:gd name="connsiteY9" fmla="*/ 35454 h 240364"/>
                <a:gd name="connsiteX10" fmla="*/ 116041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800" y="56631"/>
                    <a:pt x="114668" y="53868"/>
                    <a:pt x="102694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84" y="5979"/>
                  </a:lnTo>
                  <a:lnTo>
                    <a:pt x="53884" y="35454"/>
                  </a:lnTo>
                  <a:lnTo>
                    <a:pt x="54797" y="35454"/>
                  </a:lnTo>
                  <a:cubicBezTo>
                    <a:pt x="67232" y="13348"/>
                    <a:pt x="89338" y="0"/>
                    <a:pt x="116041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4" name="Freihandform: Form 215">
              <a:extLst>
                <a:ext uri="{FF2B5EF4-FFF2-40B4-BE49-F238E27FC236}">
                  <a16:creationId xmlns:a16="http://schemas.microsoft.com/office/drawing/2014/main" id="{60CFA2AB-964A-0A4B-8C97-3C657044B2E6}"/>
                </a:ext>
              </a:extLst>
            </p:cNvPr>
            <p:cNvSpPr/>
            <p:nvPr/>
          </p:nvSpPr>
          <p:spPr>
            <a:xfrm>
              <a:off x="4450268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5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5 w 69542"/>
                <a:gd name="connsiteY8" fmla="*/ 104076 h 338461"/>
                <a:gd name="connsiteX9" fmla="*/ 62175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76" y="0"/>
                    <a:pt x="69543" y="14277"/>
                    <a:pt x="69543" y="33160"/>
                  </a:cubicBezTo>
                  <a:close/>
                  <a:moveTo>
                    <a:pt x="6217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5" y="104076"/>
                  </a:lnTo>
                  <a:lnTo>
                    <a:pt x="6217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216">
              <a:extLst>
                <a:ext uri="{FF2B5EF4-FFF2-40B4-BE49-F238E27FC236}">
                  <a16:creationId xmlns:a16="http://schemas.microsoft.com/office/drawing/2014/main" id="{367A9542-13DC-BF47-845E-EEB771B94EEA}"/>
                </a:ext>
              </a:extLst>
            </p:cNvPr>
            <p:cNvSpPr/>
            <p:nvPr/>
          </p:nvSpPr>
          <p:spPr>
            <a:xfrm>
              <a:off x="4570153" y="2039148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6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8"/>
                    <a:pt x="83360" y="198924"/>
                    <a:pt x="116511" y="198924"/>
                  </a:cubicBezTo>
                  <a:cubicBezTo>
                    <a:pt x="138157" y="198924"/>
                    <a:pt x="155657" y="190634"/>
                    <a:pt x="174079" y="171291"/>
                  </a:cubicBezTo>
                  <a:lnTo>
                    <a:pt x="208152" y="207214"/>
                  </a:lnTo>
                  <a:cubicBezTo>
                    <a:pt x="181431" y="233465"/>
                    <a:pt x="151495" y="245900"/>
                    <a:pt x="116042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6"/>
                    <a:pt x="109125" y="45126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217">
              <a:extLst>
                <a:ext uri="{FF2B5EF4-FFF2-40B4-BE49-F238E27FC236}">
                  <a16:creationId xmlns:a16="http://schemas.microsoft.com/office/drawing/2014/main" id="{1A42EEDB-7AB9-5946-A0A7-7B270D88A73B}"/>
                </a:ext>
              </a:extLst>
            </p:cNvPr>
            <p:cNvSpPr/>
            <p:nvPr/>
          </p:nvSpPr>
          <p:spPr>
            <a:xfrm>
              <a:off x="4831929" y="1936931"/>
              <a:ext cx="219187" cy="348116"/>
            </a:xfrm>
            <a:custGeom>
              <a:avLst/>
              <a:gdLst>
                <a:gd name="connsiteX0" fmla="*/ 0 w 219187"/>
                <a:gd name="connsiteY0" fmla="*/ 224706 h 348116"/>
                <a:gd name="connsiteX1" fmla="*/ 95317 w 219187"/>
                <a:gd name="connsiteY1" fmla="*/ 102217 h 348116"/>
                <a:gd name="connsiteX2" fmla="*/ 163478 w 219187"/>
                <a:gd name="connsiteY2" fmla="*/ 133986 h 348116"/>
                <a:gd name="connsiteX3" fmla="*/ 164391 w 219187"/>
                <a:gd name="connsiteY3" fmla="*/ 133986 h 348116"/>
                <a:gd name="connsiteX4" fmla="*/ 164391 w 219187"/>
                <a:gd name="connsiteY4" fmla="*/ 13808 h 348116"/>
                <a:gd name="connsiteX5" fmla="*/ 219188 w 219187"/>
                <a:gd name="connsiteY5" fmla="*/ 0 h 348116"/>
                <a:gd name="connsiteX6" fmla="*/ 219188 w 219187"/>
                <a:gd name="connsiteY6" fmla="*/ 342590 h 348116"/>
                <a:gd name="connsiteX7" fmla="*/ 165773 w 219187"/>
                <a:gd name="connsiteY7" fmla="*/ 342590 h 348116"/>
                <a:gd name="connsiteX8" fmla="*/ 165773 w 219187"/>
                <a:gd name="connsiteY8" fmla="*/ 314957 h 348116"/>
                <a:gd name="connsiteX9" fmla="*/ 164851 w 219187"/>
                <a:gd name="connsiteY9" fmla="*/ 314957 h 348116"/>
                <a:gd name="connsiteX10" fmla="*/ 94404 w 219187"/>
                <a:gd name="connsiteY10" fmla="*/ 348117 h 348116"/>
                <a:gd name="connsiteX11" fmla="*/ 0 w 219187"/>
                <a:gd name="connsiteY11" fmla="*/ 224706 h 348116"/>
                <a:gd name="connsiteX12" fmla="*/ 54328 w 219187"/>
                <a:gd name="connsiteY12" fmla="*/ 224706 h 348116"/>
                <a:gd name="connsiteX13" fmla="*/ 108664 w 219187"/>
                <a:gd name="connsiteY13" fmla="*/ 299767 h 348116"/>
                <a:gd name="connsiteX14" fmla="*/ 164383 w 219187"/>
                <a:gd name="connsiteY14" fmla="*/ 268911 h 348116"/>
                <a:gd name="connsiteX15" fmla="*/ 164383 w 219187"/>
                <a:gd name="connsiteY15" fmla="*/ 183265 h 348116"/>
                <a:gd name="connsiteX16" fmla="*/ 108664 w 219187"/>
                <a:gd name="connsiteY16" fmla="*/ 151956 h 348116"/>
                <a:gd name="connsiteX17" fmla="*/ 54328 w 219187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87" h="348116">
                  <a:moveTo>
                    <a:pt x="0" y="224706"/>
                  </a:moveTo>
                  <a:cubicBezTo>
                    <a:pt x="0" y="149185"/>
                    <a:pt x="38217" y="102217"/>
                    <a:pt x="95317" y="102217"/>
                  </a:cubicBezTo>
                  <a:cubicBezTo>
                    <a:pt x="124792" y="102217"/>
                    <a:pt x="147819" y="114643"/>
                    <a:pt x="163478" y="133986"/>
                  </a:cubicBezTo>
                  <a:lnTo>
                    <a:pt x="164391" y="133986"/>
                  </a:lnTo>
                  <a:lnTo>
                    <a:pt x="164391" y="13808"/>
                  </a:lnTo>
                  <a:lnTo>
                    <a:pt x="219188" y="0"/>
                  </a:lnTo>
                  <a:lnTo>
                    <a:pt x="219188" y="342590"/>
                  </a:lnTo>
                  <a:lnTo>
                    <a:pt x="165773" y="342590"/>
                  </a:lnTo>
                  <a:lnTo>
                    <a:pt x="165773" y="314957"/>
                  </a:lnTo>
                  <a:lnTo>
                    <a:pt x="164851" y="314957"/>
                  </a:lnTo>
                  <a:cubicBezTo>
                    <a:pt x="147819" y="335682"/>
                    <a:pt x="123410" y="348117"/>
                    <a:pt x="94404" y="348117"/>
                  </a:cubicBezTo>
                  <a:cubicBezTo>
                    <a:pt x="38677" y="348117"/>
                    <a:pt x="0" y="300689"/>
                    <a:pt x="0" y="224706"/>
                  </a:cubicBezTo>
                  <a:close/>
                  <a:moveTo>
                    <a:pt x="54328" y="224706"/>
                  </a:moveTo>
                  <a:cubicBezTo>
                    <a:pt x="54328" y="272595"/>
                    <a:pt x="74131" y="299767"/>
                    <a:pt x="108664" y="299767"/>
                  </a:cubicBezTo>
                  <a:cubicBezTo>
                    <a:pt x="129849" y="299767"/>
                    <a:pt x="147351" y="289635"/>
                    <a:pt x="164383" y="268911"/>
                  </a:cubicBezTo>
                  <a:lnTo>
                    <a:pt x="164383" y="183265"/>
                  </a:lnTo>
                  <a:cubicBezTo>
                    <a:pt x="148732" y="162088"/>
                    <a:pt x="130762" y="151956"/>
                    <a:pt x="108664" y="151956"/>
                  </a:cubicBezTo>
                  <a:cubicBezTo>
                    <a:pt x="73210" y="151956"/>
                    <a:pt x="54328" y="177739"/>
                    <a:pt x="54328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7" name="Freihandform: Form 218">
              <a:extLst>
                <a:ext uri="{FF2B5EF4-FFF2-40B4-BE49-F238E27FC236}">
                  <a16:creationId xmlns:a16="http://schemas.microsoft.com/office/drawing/2014/main" id="{0C4F78BB-ECC1-9B4E-A4FB-AF718AB2C773}"/>
                </a:ext>
              </a:extLst>
            </p:cNvPr>
            <p:cNvSpPr/>
            <p:nvPr/>
          </p:nvSpPr>
          <p:spPr>
            <a:xfrm>
              <a:off x="512248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86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7 w 141832"/>
                <a:gd name="connsiteY9" fmla="*/ 35454 h 240364"/>
                <a:gd name="connsiteX10" fmla="*/ 116033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792" y="56631"/>
                    <a:pt x="114660" y="53868"/>
                    <a:pt x="102686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3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8" name="Freihandform: Form 219">
              <a:extLst>
                <a:ext uri="{FF2B5EF4-FFF2-40B4-BE49-F238E27FC236}">
                  <a16:creationId xmlns:a16="http://schemas.microsoft.com/office/drawing/2014/main" id="{E5CC0BE3-70DF-A64D-A937-D3747D9F7FFA}"/>
                </a:ext>
              </a:extLst>
            </p:cNvPr>
            <p:cNvSpPr/>
            <p:nvPr/>
          </p:nvSpPr>
          <p:spPr>
            <a:xfrm>
              <a:off x="5303239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ihandform: Form 220">
              <a:extLst>
                <a:ext uri="{FF2B5EF4-FFF2-40B4-BE49-F238E27FC236}">
                  <a16:creationId xmlns:a16="http://schemas.microsoft.com/office/drawing/2014/main" id="{8A992392-BE78-4C45-A9AD-9A46BB85E45C}"/>
                </a:ext>
              </a:extLst>
            </p:cNvPr>
            <p:cNvSpPr/>
            <p:nvPr/>
          </p:nvSpPr>
          <p:spPr>
            <a:xfrm>
              <a:off x="5424179" y="2039156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2"/>
                    <a:pt x="112809" y="50192"/>
                  </a:cubicBezTo>
                  <a:cubicBezTo>
                    <a:pt x="78277" y="50192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71" y="196161"/>
                    <a:pt x="145509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221">
              <a:extLst>
                <a:ext uri="{FF2B5EF4-FFF2-40B4-BE49-F238E27FC236}">
                  <a16:creationId xmlns:a16="http://schemas.microsoft.com/office/drawing/2014/main" id="{AD1DD049-8BF7-AB4F-A285-FA0FEECB6CE4}"/>
                </a:ext>
              </a:extLst>
            </p:cNvPr>
            <p:cNvSpPr/>
            <p:nvPr/>
          </p:nvSpPr>
          <p:spPr>
            <a:xfrm>
              <a:off x="5668731" y="1936931"/>
              <a:ext cx="201695" cy="342590"/>
            </a:xfrm>
            <a:custGeom>
              <a:avLst/>
              <a:gdLst>
                <a:gd name="connsiteX0" fmla="*/ 201695 w 201695"/>
                <a:gd name="connsiteY0" fmla="*/ 342590 h 342590"/>
                <a:gd name="connsiteX1" fmla="*/ 146898 w 201695"/>
                <a:gd name="connsiteY1" fmla="*/ 342590 h 342590"/>
                <a:gd name="connsiteX2" fmla="*/ 146898 w 201695"/>
                <a:gd name="connsiteY2" fmla="*/ 208587 h 342590"/>
                <a:gd name="connsiteX3" fmla="*/ 103607 w 201695"/>
                <a:gd name="connsiteY3" fmla="*/ 151487 h 342590"/>
                <a:gd name="connsiteX4" fmla="*/ 54797 w 201695"/>
                <a:gd name="connsiteY4" fmla="*/ 208135 h 342590"/>
                <a:gd name="connsiteX5" fmla="*/ 54797 w 201695"/>
                <a:gd name="connsiteY5" fmla="*/ 342590 h 342590"/>
                <a:gd name="connsiteX6" fmla="*/ 0 w 201695"/>
                <a:gd name="connsiteY6" fmla="*/ 342590 h 342590"/>
                <a:gd name="connsiteX7" fmla="*/ 0 w 201695"/>
                <a:gd name="connsiteY7" fmla="*/ 13808 h 342590"/>
                <a:gd name="connsiteX8" fmla="*/ 54797 w 201695"/>
                <a:gd name="connsiteY8" fmla="*/ 0 h 342590"/>
                <a:gd name="connsiteX9" fmla="*/ 54797 w 201695"/>
                <a:gd name="connsiteY9" fmla="*/ 136298 h 342590"/>
                <a:gd name="connsiteX10" fmla="*/ 55718 w 201695"/>
                <a:gd name="connsiteY10" fmla="*/ 136298 h 342590"/>
                <a:gd name="connsiteX11" fmla="*/ 124323 w 201695"/>
                <a:gd name="connsiteY11" fmla="*/ 102225 h 342590"/>
                <a:gd name="connsiteX12" fmla="*/ 201687 w 201695"/>
                <a:gd name="connsiteY12" fmla="*/ 197082 h 342590"/>
                <a:gd name="connsiteX13" fmla="*/ 201687 w 201695"/>
                <a:gd name="connsiteY13" fmla="*/ 342590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0">
                  <a:moveTo>
                    <a:pt x="201695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297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0"/>
                  </a:lnTo>
                  <a:lnTo>
                    <a:pt x="0" y="342590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222">
              <a:extLst>
                <a:ext uri="{FF2B5EF4-FFF2-40B4-BE49-F238E27FC236}">
                  <a16:creationId xmlns:a16="http://schemas.microsoft.com/office/drawing/2014/main" id="{57A09A9F-192C-9B4E-AD21-793E9C400E00}"/>
                </a:ext>
              </a:extLst>
            </p:cNvPr>
            <p:cNvSpPr/>
            <p:nvPr/>
          </p:nvSpPr>
          <p:spPr>
            <a:xfrm>
              <a:off x="5933312" y="2109603"/>
              <a:ext cx="115120" cy="52033"/>
            </a:xfrm>
            <a:custGeom>
              <a:avLst/>
              <a:gdLst>
                <a:gd name="connsiteX0" fmla="*/ 115121 w 115120"/>
                <a:gd name="connsiteY0" fmla="*/ 52034 h 52033"/>
                <a:gd name="connsiteX1" fmla="*/ 0 w 115120"/>
                <a:gd name="connsiteY1" fmla="*/ 52034 h 52033"/>
                <a:gd name="connsiteX2" fmla="*/ 0 w 115120"/>
                <a:gd name="connsiteY2" fmla="*/ 0 h 52033"/>
                <a:gd name="connsiteX3" fmla="*/ 115121 w 115120"/>
                <a:gd name="connsiteY3" fmla="*/ 0 h 52033"/>
                <a:gd name="connsiteX4" fmla="*/ 115121 w 115120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20" h="52033">
                  <a:moveTo>
                    <a:pt x="115121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1" y="0"/>
                  </a:lnTo>
                  <a:lnTo>
                    <a:pt x="115121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ihandform: Form 223">
              <a:extLst>
                <a:ext uri="{FF2B5EF4-FFF2-40B4-BE49-F238E27FC236}">
                  <a16:creationId xmlns:a16="http://schemas.microsoft.com/office/drawing/2014/main" id="{2A68142D-7DB3-D44E-B472-661C0E32F636}"/>
                </a:ext>
              </a:extLst>
            </p:cNvPr>
            <p:cNvSpPr/>
            <p:nvPr/>
          </p:nvSpPr>
          <p:spPr>
            <a:xfrm>
              <a:off x="6076636" y="1955336"/>
              <a:ext cx="302078" cy="324184"/>
            </a:xfrm>
            <a:custGeom>
              <a:avLst/>
              <a:gdLst>
                <a:gd name="connsiteX0" fmla="*/ 120647 w 302078"/>
                <a:gd name="connsiteY0" fmla="*/ 0 h 324184"/>
                <a:gd name="connsiteX1" fmla="*/ 181431 w 302078"/>
                <a:gd name="connsiteY1" fmla="*/ 0 h 324184"/>
                <a:gd name="connsiteX2" fmla="*/ 302079 w 302078"/>
                <a:gd name="connsiteY2" fmla="*/ 324185 h 324184"/>
                <a:gd name="connsiteX3" fmla="*/ 238991 w 302078"/>
                <a:gd name="connsiteY3" fmla="*/ 324185 h 324184"/>
                <a:gd name="connsiteX4" fmla="*/ 215503 w 302078"/>
                <a:gd name="connsiteY4" fmla="*/ 255111 h 324184"/>
                <a:gd name="connsiteX5" fmla="*/ 84732 w 302078"/>
                <a:gd name="connsiteY5" fmla="*/ 255111 h 324184"/>
                <a:gd name="connsiteX6" fmla="*/ 61244 w 302078"/>
                <a:gd name="connsiteY6" fmla="*/ 324185 h 324184"/>
                <a:gd name="connsiteX7" fmla="*/ 0 w 302078"/>
                <a:gd name="connsiteY7" fmla="*/ 324185 h 324184"/>
                <a:gd name="connsiteX8" fmla="*/ 120647 w 302078"/>
                <a:gd name="connsiteY8" fmla="*/ 0 h 324184"/>
                <a:gd name="connsiteX9" fmla="*/ 102686 w 302078"/>
                <a:gd name="connsiteY9" fmla="*/ 203538 h 324184"/>
                <a:gd name="connsiteX10" fmla="*/ 197542 w 302078"/>
                <a:gd name="connsiteY10" fmla="*/ 203538 h 324184"/>
                <a:gd name="connsiteX11" fmla="*/ 150575 w 302078"/>
                <a:gd name="connsiteY11" fmla="*/ 65859 h 324184"/>
                <a:gd name="connsiteX12" fmla="*/ 149654 w 302078"/>
                <a:gd name="connsiteY12" fmla="*/ 65859 h 324184"/>
                <a:gd name="connsiteX13" fmla="*/ 102686 w 302078"/>
                <a:gd name="connsiteY13" fmla="*/ 203538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2078" h="324184">
                  <a:moveTo>
                    <a:pt x="120647" y="0"/>
                  </a:moveTo>
                  <a:lnTo>
                    <a:pt x="181431" y="0"/>
                  </a:lnTo>
                  <a:lnTo>
                    <a:pt x="302079" y="324185"/>
                  </a:lnTo>
                  <a:lnTo>
                    <a:pt x="238991" y="324185"/>
                  </a:lnTo>
                  <a:lnTo>
                    <a:pt x="215503" y="255111"/>
                  </a:lnTo>
                  <a:lnTo>
                    <a:pt x="84732" y="255111"/>
                  </a:lnTo>
                  <a:lnTo>
                    <a:pt x="61244" y="324185"/>
                  </a:lnTo>
                  <a:lnTo>
                    <a:pt x="0" y="324185"/>
                  </a:lnTo>
                  <a:lnTo>
                    <a:pt x="120647" y="0"/>
                  </a:lnTo>
                  <a:close/>
                  <a:moveTo>
                    <a:pt x="102686" y="203538"/>
                  </a:moveTo>
                  <a:lnTo>
                    <a:pt x="197542" y="203538"/>
                  </a:lnTo>
                  <a:lnTo>
                    <a:pt x="150575" y="65859"/>
                  </a:lnTo>
                  <a:lnTo>
                    <a:pt x="149654" y="65859"/>
                  </a:lnTo>
                  <a:lnTo>
                    <a:pt x="102686" y="2035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" name="Freihandform: Form 224">
              <a:extLst>
                <a:ext uri="{FF2B5EF4-FFF2-40B4-BE49-F238E27FC236}">
                  <a16:creationId xmlns:a16="http://schemas.microsoft.com/office/drawing/2014/main" id="{5B3BEB07-2489-4A48-84BB-0236C1FC7F1E}"/>
                </a:ext>
              </a:extLst>
            </p:cNvPr>
            <p:cNvSpPr/>
            <p:nvPr/>
          </p:nvSpPr>
          <p:spPr>
            <a:xfrm>
              <a:off x="6426787" y="1937383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ihandform: Form 225">
              <a:extLst>
                <a:ext uri="{FF2B5EF4-FFF2-40B4-BE49-F238E27FC236}">
                  <a16:creationId xmlns:a16="http://schemas.microsoft.com/office/drawing/2014/main" id="{58EFC4A9-A6AE-D94A-9FCA-1E870AF480AC}"/>
                </a:ext>
              </a:extLst>
            </p:cNvPr>
            <p:cNvSpPr/>
            <p:nvPr/>
          </p:nvSpPr>
          <p:spPr>
            <a:xfrm>
              <a:off x="6541003" y="2039148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0 w 214130"/>
                <a:gd name="connsiteY3" fmla="*/ 119266 h 245899"/>
                <a:gd name="connsiteX4" fmla="*/ 213209 w 214130"/>
                <a:gd name="connsiteY4" fmla="*/ 141824 h 245899"/>
                <a:gd name="connsiteX5" fmla="*/ 55726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6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0" y="46968"/>
                    <a:pt x="214130" y="119266"/>
                  </a:cubicBezTo>
                  <a:cubicBezTo>
                    <a:pt x="214130" y="127095"/>
                    <a:pt x="213670" y="135385"/>
                    <a:pt x="213209" y="141824"/>
                  </a:cubicBezTo>
                  <a:lnTo>
                    <a:pt x="55726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31" y="233465"/>
                    <a:pt x="151487" y="245900"/>
                    <a:pt x="116033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72" y="65850"/>
                    <a:pt x="139990" y="45126"/>
                    <a:pt x="109134" y="45126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ihandform: Form 226">
              <a:extLst>
                <a:ext uri="{FF2B5EF4-FFF2-40B4-BE49-F238E27FC236}">
                  <a16:creationId xmlns:a16="http://schemas.microsoft.com/office/drawing/2014/main" id="{E48A6423-991D-8746-A1FD-DDA39FD5868D}"/>
                </a:ext>
              </a:extLst>
            </p:cNvPr>
            <p:cNvSpPr/>
            <p:nvPr/>
          </p:nvSpPr>
          <p:spPr>
            <a:xfrm>
              <a:off x="6784224" y="2045127"/>
              <a:ext cx="224245" cy="234394"/>
            </a:xfrm>
            <a:custGeom>
              <a:avLst/>
              <a:gdLst>
                <a:gd name="connsiteX0" fmla="*/ 224245 w 224245"/>
                <a:gd name="connsiteY0" fmla="*/ 234395 h 234394"/>
                <a:gd name="connsiteX1" fmla="*/ 161619 w 224245"/>
                <a:gd name="connsiteY1" fmla="*/ 234395 h 234394"/>
                <a:gd name="connsiteX2" fmla="*/ 111427 w 224245"/>
                <a:gd name="connsiteY2" fmla="*/ 153346 h 234394"/>
                <a:gd name="connsiteX3" fmla="*/ 110515 w 224245"/>
                <a:gd name="connsiteY3" fmla="*/ 153346 h 234394"/>
                <a:gd name="connsiteX4" fmla="*/ 61697 w 224245"/>
                <a:gd name="connsiteY4" fmla="*/ 234395 h 234394"/>
                <a:gd name="connsiteX5" fmla="*/ 0 w 224245"/>
                <a:gd name="connsiteY5" fmla="*/ 234395 h 234394"/>
                <a:gd name="connsiteX6" fmla="*/ 80119 w 224245"/>
                <a:gd name="connsiteY6" fmla="*/ 112826 h 234394"/>
                <a:gd name="connsiteX7" fmla="*/ 5979 w 224245"/>
                <a:gd name="connsiteY7" fmla="*/ 0 h 234394"/>
                <a:gd name="connsiteX8" fmla="*/ 67684 w 224245"/>
                <a:gd name="connsiteY8" fmla="*/ 0 h 234394"/>
                <a:gd name="connsiteX9" fmla="*/ 111888 w 224245"/>
                <a:gd name="connsiteY9" fmla="*/ 71837 h 234394"/>
                <a:gd name="connsiteX10" fmla="*/ 112801 w 224245"/>
                <a:gd name="connsiteY10" fmla="*/ 71837 h 234394"/>
                <a:gd name="connsiteX11" fmla="*/ 156553 w 224245"/>
                <a:gd name="connsiteY11" fmla="*/ 0 h 234394"/>
                <a:gd name="connsiteX12" fmla="*/ 217337 w 224245"/>
                <a:gd name="connsiteY12" fmla="*/ 0 h 234394"/>
                <a:gd name="connsiteX13" fmla="*/ 143657 w 224245"/>
                <a:gd name="connsiteY13" fmla="*/ 111897 h 234394"/>
                <a:gd name="connsiteX14" fmla="*/ 224245 w 224245"/>
                <a:gd name="connsiteY14" fmla="*/ 234395 h 2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245" h="234394">
                  <a:moveTo>
                    <a:pt x="224245" y="234395"/>
                  </a:moveTo>
                  <a:lnTo>
                    <a:pt x="161619" y="234395"/>
                  </a:lnTo>
                  <a:lnTo>
                    <a:pt x="111427" y="153346"/>
                  </a:lnTo>
                  <a:lnTo>
                    <a:pt x="110515" y="153346"/>
                  </a:lnTo>
                  <a:lnTo>
                    <a:pt x="61697" y="234395"/>
                  </a:lnTo>
                  <a:lnTo>
                    <a:pt x="0" y="234395"/>
                  </a:lnTo>
                  <a:lnTo>
                    <a:pt x="80119" y="112826"/>
                  </a:lnTo>
                  <a:lnTo>
                    <a:pt x="5979" y="0"/>
                  </a:lnTo>
                  <a:lnTo>
                    <a:pt x="67684" y="0"/>
                  </a:lnTo>
                  <a:lnTo>
                    <a:pt x="111888" y="71837"/>
                  </a:lnTo>
                  <a:lnTo>
                    <a:pt x="112801" y="71837"/>
                  </a:lnTo>
                  <a:lnTo>
                    <a:pt x="156553" y="0"/>
                  </a:lnTo>
                  <a:lnTo>
                    <a:pt x="217337" y="0"/>
                  </a:lnTo>
                  <a:lnTo>
                    <a:pt x="143657" y="111897"/>
                  </a:lnTo>
                  <a:lnTo>
                    <a:pt x="224245" y="23439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6" name="Freihandform: Form 227">
              <a:extLst>
                <a:ext uri="{FF2B5EF4-FFF2-40B4-BE49-F238E27FC236}">
                  <a16:creationId xmlns:a16="http://schemas.microsoft.com/office/drawing/2014/main" id="{F59FF282-2547-8149-9273-1F267A013CDA}"/>
                </a:ext>
              </a:extLst>
            </p:cNvPr>
            <p:cNvSpPr/>
            <p:nvPr/>
          </p:nvSpPr>
          <p:spPr>
            <a:xfrm>
              <a:off x="7037149" y="2039148"/>
              <a:ext cx="198924" cy="245899"/>
            </a:xfrm>
            <a:custGeom>
              <a:avLst/>
              <a:gdLst>
                <a:gd name="connsiteX0" fmla="*/ 100835 w 198924"/>
                <a:gd name="connsiteY0" fmla="*/ 94856 h 245899"/>
                <a:gd name="connsiteX1" fmla="*/ 145039 w 198924"/>
                <a:gd name="connsiteY1" fmla="*/ 99922 h 245899"/>
                <a:gd name="connsiteX2" fmla="*/ 145039 w 198924"/>
                <a:gd name="connsiteY2" fmla="*/ 91633 h 245899"/>
                <a:gd name="connsiteX3" fmla="*/ 93466 w 198924"/>
                <a:gd name="connsiteY3" fmla="*/ 46047 h 245899"/>
                <a:gd name="connsiteX4" fmla="*/ 34064 w 198924"/>
                <a:gd name="connsiteY4" fmla="*/ 59402 h 245899"/>
                <a:gd name="connsiteX5" fmla="*/ 22090 w 198924"/>
                <a:gd name="connsiteY5" fmla="*/ 13356 h 245899"/>
                <a:gd name="connsiteX6" fmla="*/ 98993 w 198924"/>
                <a:gd name="connsiteY6" fmla="*/ 0 h 245899"/>
                <a:gd name="connsiteX7" fmla="*/ 198924 w 198924"/>
                <a:gd name="connsiteY7" fmla="*/ 90712 h 245899"/>
                <a:gd name="connsiteX8" fmla="*/ 198924 w 198924"/>
                <a:gd name="connsiteY8" fmla="*/ 240373 h 245899"/>
                <a:gd name="connsiteX9" fmla="*/ 146882 w 198924"/>
                <a:gd name="connsiteY9" fmla="*/ 240373 h 245899"/>
                <a:gd name="connsiteX10" fmla="*/ 146882 w 198924"/>
                <a:gd name="connsiteY10" fmla="*/ 215504 h 245899"/>
                <a:gd name="connsiteX11" fmla="*/ 145969 w 198924"/>
                <a:gd name="connsiteY11" fmla="*/ 215504 h 245899"/>
                <a:gd name="connsiteX12" fmla="*/ 77356 w 198924"/>
                <a:gd name="connsiteY12" fmla="*/ 245900 h 245899"/>
                <a:gd name="connsiteX13" fmla="*/ 0 w 198924"/>
                <a:gd name="connsiteY13" fmla="*/ 171299 h 245899"/>
                <a:gd name="connsiteX14" fmla="*/ 100835 w 198924"/>
                <a:gd name="connsiteY14" fmla="*/ 94856 h 245899"/>
                <a:gd name="connsiteX15" fmla="*/ 91624 w 198924"/>
                <a:gd name="connsiteY15" fmla="*/ 204919 h 245899"/>
                <a:gd name="connsiteX16" fmla="*/ 145039 w 198924"/>
                <a:gd name="connsiteY16" fmla="*/ 176834 h 245899"/>
                <a:gd name="connsiteX17" fmla="*/ 145039 w 198924"/>
                <a:gd name="connsiteY17" fmla="*/ 135845 h 245899"/>
                <a:gd name="connsiteX18" fmla="*/ 106823 w 198924"/>
                <a:gd name="connsiteY18" fmla="*/ 131240 h 245899"/>
                <a:gd name="connsiteX19" fmla="*/ 52486 w 198924"/>
                <a:gd name="connsiteY19" fmla="*/ 169918 h 245899"/>
                <a:gd name="connsiteX20" fmla="*/ 91624 w 198924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4" h="245899">
                  <a:moveTo>
                    <a:pt x="100835" y="94856"/>
                  </a:moveTo>
                  <a:cubicBezTo>
                    <a:pt x="116025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2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46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0" y="204919"/>
                    <a:pt x="129842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9" y="131240"/>
                    <a:pt x="106823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8" y="191563"/>
                    <a:pt x="67684" y="204919"/>
                    <a:pt x="91624" y="204919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7" name="Freihandform: Form 228">
              <a:extLst>
                <a:ext uri="{FF2B5EF4-FFF2-40B4-BE49-F238E27FC236}">
                  <a16:creationId xmlns:a16="http://schemas.microsoft.com/office/drawing/2014/main" id="{816CFEE9-6F46-CF47-9D02-1033E89014F9}"/>
                </a:ext>
              </a:extLst>
            </p:cNvPr>
            <p:cNvSpPr/>
            <p:nvPr/>
          </p:nvSpPr>
          <p:spPr>
            <a:xfrm>
              <a:off x="7305540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0 w 201695"/>
                <a:gd name="connsiteY1" fmla="*/ 240373 h 240373"/>
                <a:gd name="connsiteX2" fmla="*/ 146890 w 201695"/>
                <a:gd name="connsiteY2" fmla="*/ 106370 h 240373"/>
                <a:gd name="connsiteX3" fmla="*/ 103607 w 201695"/>
                <a:gd name="connsiteY3" fmla="*/ 49270 h 240373"/>
                <a:gd name="connsiteX4" fmla="*/ 54797 w 201695"/>
                <a:gd name="connsiteY4" fmla="*/ 105918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0" y="240373"/>
                  </a:lnTo>
                  <a:lnTo>
                    <a:pt x="146890" y="106370"/>
                  </a:lnTo>
                  <a:cubicBezTo>
                    <a:pt x="146890" y="72298"/>
                    <a:pt x="136767" y="49270"/>
                    <a:pt x="103607" y="49270"/>
                  </a:cubicBezTo>
                  <a:cubicBezTo>
                    <a:pt x="65390" y="49270"/>
                    <a:pt x="54797" y="80588"/>
                    <a:pt x="54797" y="105918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8" name="Freihandform: Form 229">
              <a:extLst>
                <a:ext uri="{FF2B5EF4-FFF2-40B4-BE49-F238E27FC236}">
                  <a16:creationId xmlns:a16="http://schemas.microsoft.com/office/drawing/2014/main" id="{1E20B96E-EAE3-2746-8BD9-CF10523A0BE5}"/>
                </a:ext>
              </a:extLst>
            </p:cNvPr>
            <p:cNvSpPr/>
            <p:nvPr/>
          </p:nvSpPr>
          <p:spPr>
            <a:xfrm>
              <a:off x="7565198" y="1936931"/>
              <a:ext cx="219195" cy="348116"/>
            </a:xfrm>
            <a:custGeom>
              <a:avLst/>
              <a:gdLst>
                <a:gd name="connsiteX0" fmla="*/ 0 w 219195"/>
                <a:gd name="connsiteY0" fmla="*/ 224706 h 348116"/>
                <a:gd name="connsiteX1" fmla="*/ 95325 w 219195"/>
                <a:gd name="connsiteY1" fmla="*/ 102217 h 348116"/>
                <a:gd name="connsiteX2" fmla="*/ 163478 w 219195"/>
                <a:gd name="connsiteY2" fmla="*/ 133986 h 348116"/>
                <a:gd name="connsiteX3" fmla="*/ 164399 w 219195"/>
                <a:gd name="connsiteY3" fmla="*/ 133986 h 348116"/>
                <a:gd name="connsiteX4" fmla="*/ 164399 w 219195"/>
                <a:gd name="connsiteY4" fmla="*/ 13808 h 348116"/>
                <a:gd name="connsiteX5" fmla="*/ 219196 w 219195"/>
                <a:gd name="connsiteY5" fmla="*/ 0 h 348116"/>
                <a:gd name="connsiteX6" fmla="*/ 219196 w 219195"/>
                <a:gd name="connsiteY6" fmla="*/ 342590 h 348116"/>
                <a:gd name="connsiteX7" fmla="*/ 165781 w 219195"/>
                <a:gd name="connsiteY7" fmla="*/ 342590 h 348116"/>
                <a:gd name="connsiteX8" fmla="*/ 165781 w 219195"/>
                <a:gd name="connsiteY8" fmla="*/ 314957 h 348116"/>
                <a:gd name="connsiteX9" fmla="*/ 164859 w 219195"/>
                <a:gd name="connsiteY9" fmla="*/ 314957 h 348116"/>
                <a:gd name="connsiteX10" fmla="*/ 94404 w 219195"/>
                <a:gd name="connsiteY10" fmla="*/ 348117 h 348116"/>
                <a:gd name="connsiteX11" fmla="*/ 0 w 219195"/>
                <a:gd name="connsiteY11" fmla="*/ 224706 h 348116"/>
                <a:gd name="connsiteX12" fmla="*/ 54336 w 219195"/>
                <a:gd name="connsiteY12" fmla="*/ 224706 h 348116"/>
                <a:gd name="connsiteX13" fmla="*/ 108673 w 219195"/>
                <a:gd name="connsiteY13" fmla="*/ 299767 h 348116"/>
                <a:gd name="connsiteX14" fmla="*/ 164391 w 219195"/>
                <a:gd name="connsiteY14" fmla="*/ 268911 h 348116"/>
                <a:gd name="connsiteX15" fmla="*/ 164391 w 219195"/>
                <a:gd name="connsiteY15" fmla="*/ 183265 h 348116"/>
                <a:gd name="connsiteX16" fmla="*/ 108673 w 219195"/>
                <a:gd name="connsiteY16" fmla="*/ 151956 h 348116"/>
                <a:gd name="connsiteX17" fmla="*/ 54336 w 219195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5" h="348116">
                  <a:moveTo>
                    <a:pt x="0" y="224706"/>
                  </a:moveTo>
                  <a:cubicBezTo>
                    <a:pt x="0" y="149185"/>
                    <a:pt x="38217" y="102217"/>
                    <a:pt x="95325" y="102217"/>
                  </a:cubicBezTo>
                  <a:cubicBezTo>
                    <a:pt x="124800" y="102217"/>
                    <a:pt x="147828" y="114643"/>
                    <a:pt x="163478" y="133986"/>
                  </a:cubicBezTo>
                  <a:lnTo>
                    <a:pt x="164399" y="133986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0"/>
                  </a:lnTo>
                  <a:lnTo>
                    <a:pt x="165781" y="342590"/>
                  </a:lnTo>
                  <a:lnTo>
                    <a:pt x="165781" y="314957"/>
                  </a:lnTo>
                  <a:lnTo>
                    <a:pt x="164859" y="314957"/>
                  </a:lnTo>
                  <a:cubicBezTo>
                    <a:pt x="147828" y="335682"/>
                    <a:pt x="123418" y="348117"/>
                    <a:pt x="94404" y="348117"/>
                  </a:cubicBezTo>
                  <a:cubicBezTo>
                    <a:pt x="38686" y="348117"/>
                    <a:pt x="0" y="300689"/>
                    <a:pt x="0" y="224706"/>
                  </a:cubicBezTo>
                  <a:close/>
                  <a:moveTo>
                    <a:pt x="54336" y="224706"/>
                  </a:moveTo>
                  <a:cubicBezTo>
                    <a:pt x="54336" y="272595"/>
                    <a:pt x="74140" y="299767"/>
                    <a:pt x="108673" y="299767"/>
                  </a:cubicBezTo>
                  <a:cubicBezTo>
                    <a:pt x="129850" y="299767"/>
                    <a:pt x="147351" y="289635"/>
                    <a:pt x="164391" y="268911"/>
                  </a:cubicBezTo>
                  <a:lnTo>
                    <a:pt x="164391" y="183265"/>
                  </a:lnTo>
                  <a:cubicBezTo>
                    <a:pt x="148733" y="162088"/>
                    <a:pt x="130771" y="151956"/>
                    <a:pt x="108673" y="151956"/>
                  </a:cubicBezTo>
                  <a:cubicBezTo>
                    <a:pt x="73219" y="151956"/>
                    <a:pt x="54336" y="177739"/>
                    <a:pt x="54336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230">
              <a:extLst>
                <a:ext uri="{FF2B5EF4-FFF2-40B4-BE49-F238E27FC236}">
                  <a16:creationId xmlns:a16="http://schemas.microsoft.com/office/drawing/2014/main" id="{6696B870-4358-D749-8275-C5A5C43AEF41}"/>
                </a:ext>
              </a:extLst>
            </p:cNvPr>
            <p:cNvSpPr/>
            <p:nvPr/>
          </p:nvSpPr>
          <p:spPr>
            <a:xfrm>
              <a:off x="7843881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89 w 214130"/>
                <a:gd name="connsiteY10" fmla="*/ 101765 h 245899"/>
                <a:gd name="connsiteX11" fmla="*/ 161160 w 214130"/>
                <a:gd name="connsiteY11" fmla="*/ 101765 h 245899"/>
                <a:gd name="connsiteX12" fmla="*/ 109125 w 214130"/>
                <a:gd name="connsiteY12" fmla="*/ 45126 h 245899"/>
                <a:gd name="connsiteX13" fmla="*/ 54789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23" y="233465"/>
                    <a:pt x="151496" y="245900"/>
                    <a:pt x="116034" y="245900"/>
                  </a:cubicBezTo>
                  <a:close/>
                  <a:moveTo>
                    <a:pt x="54789" y="101765"/>
                  </a:moveTo>
                  <a:lnTo>
                    <a:pt x="161160" y="101765"/>
                  </a:lnTo>
                  <a:cubicBezTo>
                    <a:pt x="158857" y="65850"/>
                    <a:pt x="139982" y="45126"/>
                    <a:pt x="109125" y="45126"/>
                  </a:cubicBezTo>
                  <a:cubicBezTo>
                    <a:pt x="78738" y="45134"/>
                    <a:pt x="59394" y="65390"/>
                    <a:pt x="54789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0" name="Freihandform: Form 231">
              <a:extLst>
                <a:ext uri="{FF2B5EF4-FFF2-40B4-BE49-F238E27FC236}">
                  <a16:creationId xmlns:a16="http://schemas.microsoft.com/office/drawing/2014/main" id="{7541E1D4-E2DB-C841-9670-483FB10DF092}"/>
                </a:ext>
              </a:extLst>
            </p:cNvPr>
            <p:cNvSpPr/>
            <p:nvPr/>
          </p:nvSpPr>
          <p:spPr>
            <a:xfrm>
              <a:off x="8117849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86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801" y="56631"/>
                    <a:pt x="114668" y="53868"/>
                    <a:pt x="102686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8" y="35454"/>
                  </a:lnTo>
                  <a:cubicBezTo>
                    <a:pt x="67224" y="13348"/>
                    <a:pt x="89330" y="0"/>
                    <a:pt x="116042" y="0"/>
                  </a:cubicBezTo>
                  <a:cubicBezTo>
                    <a:pt x="123871" y="-8"/>
                    <a:pt x="133534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1" name="Freihandform: Form 232">
              <a:extLst>
                <a:ext uri="{FF2B5EF4-FFF2-40B4-BE49-F238E27FC236}">
                  <a16:creationId xmlns:a16="http://schemas.microsoft.com/office/drawing/2014/main" id="{A5C2F266-9C7E-7146-B6EC-6AC33EF530AC}"/>
                </a:ext>
              </a:extLst>
            </p:cNvPr>
            <p:cNvSpPr/>
            <p:nvPr/>
          </p:nvSpPr>
          <p:spPr>
            <a:xfrm>
              <a:off x="8293771" y="2109603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2" name="Freihandform: Form 233">
              <a:extLst>
                <a:ext uri="{FF2B5EF4-FFF2-40B4-BE49-F238E27FC236}">
                  <a16:creationId xmlns:a16="http://schemas.microsoft.com/office/drawing/2014/main" id="{09ABAA67-7F97-9E42-8A1E-68BDB9FB9267}"/>
                </a:ext>
              </a:extLst>
            </p:cNvPr>
            <p:cNvSpPr/>
            <p:nvPr/>
          </p:nvSpPr>
          <p:spPr>
            <a:xfrm>
              <a:off x="8478811" y="1955336"/>
              <a:ext cx="253268" cy="329711"/>
            </a:xfrm>
            <a:custGeom>
              <a:avLst/>
              <a:gdLst>
                <a:gd name="connsiteX0" fmla="*/ 253268 w 253268"/>
                <a:gd name="connsiteY0" fmla="*/ 195708 h 329711"/>
                <a:gd name="connsiteX1" fmla="*/ 126174 w 253268"/>
                <a:gd name="connsiteY1" fmla="*/ 329712 h 329711"/>
                <a:gd name="connsiteX2" fmla="*/ 0 w 253268"/>
                <a:gd name="connsiteY2" fmla="*/ 195708 h 329711"/>
                <a:gd name="connsiteX3" fmla="*/ 0 w 253268"/>
                <a:gd name="connsiteY3" fmla="*/ 0 h 329711"/>
                <a:gd name="connsiteX4" fmla="*/ 58941 w 253268"/>
                <a:gd name="connsiteY4" fmla="*/ 0 h 329711"/>
                <a:gd name="connsiteX5" fmla="*/ 58941 w 253268"/>
                <a:gd name="connsiteY5" fmla="*/ 192485 h 329711"/>
                <a:gd name="connsiteX6" fmla="*/ 128016 w 253268"/>
                <a:gd name="connsiteY6" fmla="*/ 274446 h 329711"/>
                <a:gd name="connsiteX7" fmla="*/ 194795 w 253268"/>
                <a:gd name="connsiteY7" fmla="*/ 192485 h 329711"/>
                <a:gd name="connsiteX8" fmla="*/ 194795 w 253268"/>
                <a:gd name="connsiteY8" fmla="*/ 0 h 329711"/>
                <a:gd name="connsiteX9" fmla="*/ 253268 w 253268"/>
                <a:gd name="connsiteY9" fmla="*/ 0 h 329711"/>
                <a:gd name="connsiteX10" fmla="*/ 253268 w 253268"/>
                <a:gd name="connsiteY10" fmla="*/ 195708 h 32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268" h="329711">
                  <a:moveTo>
                    <a:pt x="253268" y="195708"/>
                  </a:moveTo>
                  <a:cubicBezTo>
                    <a:pt x="253268" y="273993"/>
                    <a:pt x="213209" y="329712"/>
                    <a:pt x="126174" y="329712"/>
                  </a:cubicBezTo>
                  <a:cubicBezTo>
                    <a:pt x="39599" y="329712"/>
                    <a:pt x="0" y="274446"/>
                    <a:pt x="0" y="195708"/>
                  </a:cubicBezTo>
                  <a:lnTo>
                    <a:pt x="0" y="0"/>
                  </a:lnTo>
                  <a:lnTo>
                    <a:pt x="58941" y="0"/>
                  </a:lnTo>
                  <a:lnTo>
                    <a:pt x="58941" y="192485"/>
                  </a:lnTo>
                  <a:cubicBezTo>
                    <a:pt x="58941" y="241294"/>
                    <a:pt x="80127" y="274446"/>
                    <a:pt x="128016" y="274446"/>
                  </a:cubicBezTo>
                  <a:cubicBezTo>
                    <a:pt x="175913" y="274446"/>
                    <a:pt x="194795" y="241755"/>
                    <a:pt x="194795" y="192485"/>
                  </a:cubicBezTo>
                  <a:lnTo>
                    <a:pt x="194795" y="0"/>
                  </a:lnTo>
                  <a:lnTo>
                    <a:pt x="253268" y="0"/>
                  </a:lnTo>
                  <a:lnTo>
                    <a:pt x="253268" y="19570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3" name="Freihandform: Form 234">
              <a:extLst>
                <a:ext uri="{FF2B5EF4-FFF2-40B4-BE49-F238E27FC236}">
                  <a16:creationId xmlns:a16="http://schemas.microsoft.com/office/drawing/2014/main" id="{0C20E9EC-874F-6A47-AF56-614A57812384}"/>
                </a:ext>
              </a:extLst>
            </p:cNvPr>
            <p:cNvSpPr/>
            <p:nvPr/>
          </p:nvSpPr>
          <p:spPr>
            <a:xfrm>
              <a:off x="8804838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8 w 201695"/>
                <a:gd name="connsiteY1" fmla="*/ 240373 h 240373"/>
                <a:gd name="connsiteX2" fmla="*/ 146898 w 201695"/>
                <a:gd name="connsiteY2" fmla="*/ 106370 h 240373"/>
                <a:gd name="connsiteX3" fmla="*/ 103607 w 201695"/>
                <a:gd name="connsiteY3" fmla="*/ 49270 h 240373"/>
                <a:gd name="connsiteX4" fmla="*/ 54798 w 201695"/>
                <a:gd name="connsiteY4" fmla="*/ 105918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8" y="240373"/>
                  </a:lnTo>
                  <a:lnTo>
                    <a:pt x="146898" y="106370"/>
                  </a:lnTo>
                  <a:cubicBezTo>
                    <a:pt x="146898" y="72298"/>
                    <a:pt x="136767" y="49270"/>
                    <a:pt x="103607" y="49270"/>
                  </a:cubicBezTo>
                  <a:cubicBezTo>
                    <a:pt x="65390" y="49270"/>
                    <a:pt x="54798" y="80588"/>
                    <a:pt x="54798" y="105918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4" name="Freihandform: Form 235">
              <a:extLst>
                <a:ext uri="{FF2B5EF4-FFF2-40B4-BE49-F238E27FC236}">
                  <a16:creationId xmlns:a16="http://schemas.microsoft.com/office/drawing/2014/main" id="{517AD172-0C5D-074C-80DC-4928DDC7DAEE}"/>
                </a:ext>
              </a:extLst>
            </p:cNvPr>
            <p:cNvSpPr/>
            <p:nvPr/>
          </p:nvSpPr>
          <p:spPr>
            <a:xfrm>
              <a:off x="9068273" y="1941059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2 w 69534"/>
                <a:gd name="connsiteY1" fmla="*/ 66311 h 338461"/>
                <a:gd name="connsiteX2" fmla="*/ 0 w 69534"/>
                <a:gd name="connsiteY2" fmla="*/ 33160 h 338461"/>
                <a:gd name="connsiteX3" fmla="*/ 34532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2" y="66311"/>
                  </a:cubicBezTo>
                  <a:cubicBezTo>
                    <a:pt x="15649" y="66311"/>
                    <a:pt x="0" y="52503"/>
                    <a:pt x="0" y="33160"/>
                  </a:cubicBezTo>
                  <a:cubicBezTo>
                    <a:pt x="0" y="14277"/>
                    <a:pt x="15649" y="0"/>
                    <a:pt x="34532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5" name="Freihandform: Form 236">
              <a:extLst>
                <a:ext uri="{FF2B5EF4-FFF2-40B4-BE49-F238E27FC236}">
                  <a16:creationId xmlns:a16="http://schemas.microsoft.com/office/drawing/2014/main" id="{F83B4445-BA44-524F-8A90-7C87FA14F917}"/>
                </a:ext>
              </a:extLst>
            </p:cNvPr>
            <p:cNvSpPr/>
            <p:nvPr/>
          </p:nvSpPr>
          <p:spPr>
            <a:xfrm>
              <a:off x="9176921" y="2045135"/>
              <a:ext cx="227478" cy="234386"/>
            </a:xfrm>
            <a:custGeom>
              <a:avLst/>
              <a:gdLst>
                <a:gd name="connsiteX0" fmla="*/ 227478 w 227478"/>
                <a:gd name="connsiteY0" fmla="*/ 0 h 234386"/>
                <a:gd name="connsiteX1" fmla="*/ 142284 w 227478"/>
                <a:gd name="connsiteY1" fmla="*/ 234386 h 234386"/>
                <a:gd name="connsiteX2" fmla="*/ 85185 w 227478"/>
                <a:gd name="connsiteY2" fmla="*/ 234386 h 234386"/>
                <a:gd name="connsiteX3" fmla="*/ 0 w 227478"/>
                <a:gd name="connsiteY3" fmla="*/ 0 h 234386"/>
                <a:gd name="connsiteX4" fmla="*/ 60323 w 227478"/>
                <a:gd name="connsiteY4" fmla="*/ 0 h 234386"/>
                <a:gd name="connsiteX5" fmla="*/ 114199 w 227478"/>
                <a:gd name="connsiteY5" fmla="*/ 170387 h 234386"/>
                <a:gd name="connsiteX6" fmla="*/ 115120 w 227478"/>
                <a:gd name="connsiteY6" fmla="*/ 170387 h 234386"/>
                <a:gd name="connsiteX7" fmla="*/ 168997 w 227478"/>
                <a:gd name="connsiteY7" fmla="*/ 0 h 234386"/>
                <a:gd name="connsiteX8" fmla="*/ 227478 w 227478"/>
                <a:gd name="connsiteY8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78" h="234386">
                  <a:moveTo>
                    <a:pt x="227478" y="0"/>
                  </a:moveTo>
                  <a:lnTo>
                    <a:pt x="142284" y="234386"/>
                  </a:lnTo>
                  <a:lnTo>
                    <a:pt x="85185" y="234386"/>
                  </a:lnTo>
                  <a:lnTo>
                    <a:pt x="0" y="0"/>
                  </a:lnTo>
                  <a:lnTo>
                    <a:pt x="60323" y="0"/>
                  </a:lnTo>
                  <a:lnTo>
                    <a:pt x="114199" y="170387"/>
                  </a:lnTo>
                  <a:lnTo>
                    <a:pt x="115120" y="170387"/>
                  </a:lnTo>
                  <a:lnTo>
                    <a:pt x="168997" y="0"/>
                  </a:lnTo>
                  <a:lnTo>
                    <a:pt x="227478" y="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6" name="Freihandform: Form 237">
              <a:extLst>
                <a:ext uri="{FF2B5EF4-FFF2-40B4-BE49-F238E27FC236}">
                  <a16:creationId xmlns:a16="http://schemas.microsoft.com/office/drawing/2014/main" id="{856184B0-C1E3-5C4B-84B8-12C7F0316EEF}"/>
                </a:ext>
              </a:extLst>
            </p:cNvPr>
            <p:cNvSpPr/>
            <p:nvPr/>
          </p:nvSpPr>
          <p:spPr>
            <a:xfrm>
              <a:off x="9429904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27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8 w 214130"/>
                <a:gd name="connsiteY10" fmla="*/ 101765 h 245899"/>
                <a:gd name="connsiteX11" fmla="*/ 161168 w 214130"/>
                <a:gd name="connsiteY11" fmla="*/ 101765 h 245899"/>
                <a:gd name="connsiteX12" fmla="*/ 109134 w 214130"/>
                <a:gd name="connsiteY12" fmla="*/ 45126 h 245899"/>
                <a:gd name="connsiteX13" fmla="*/ 5479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500" y="245900"/>
                    <a:pt x="0" y="196621"/>
                    <a:pt x="0" y="122489"/>
                  </a:cubicBezTo>
                  <a:cubicBezTo>
                    <a:pt x="0" y="49739"/>
                    <a:pt x="44666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27" y="141824"/>
                  </a:lnTo>
                  <a:cubicBezTo>
                    <a:pt x="61714" y="178208"/>
                    <a:pt x="83352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31" y="233465"/>
                    <a:pt x="151488" y="245900"/>
                    <a:pt x="116034" y="245900"/>
                  </a:cubicBezTo>
                  <a:close/>
                  <a:moveTo>
                    <a:pt x="54798" y="101765"/>
                  </a:moveTo>
                  <a:lnTo>
                    <a:pt x="161168" y="101765"/>
                  </a:lnTo>
                  <a:cubicBezTo>
                    <a:pt x="158873" y="65850"/>
                    <a:pt x="139990" y="45126"/>
                    <a:pt x="109134" y="45126"/>
                  </a:cubicBezTo>
                  <a:cubicBezTo>
                    <a:pt x="78738" y="45134"/>
                    <a:pt x="59394" y="65390"/>
                    <a:pt x="54798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7" name="Freihandform: Form 238">
              <a:extLst>
                <a:ext uri="{FF2B5EF4-FFF2-40B4-BE49-F238E27FC236}">
                  <a16:creationId xmlns:a16="http://schemas.microsoft.com/office/drawing/2014/main" id="{8326E962-E744-2F46-9DD7-5963CAA651CD}"/>
                </a:ext>
              </a:extLst>
            </p:cNvPr>
            <p:cNvSpPr/>
            <p:nvPr/>
          </p:nvSpPr>
          <p:spPr>
            <a:xfrm>
              <a:off x="9703872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94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7 w 141832"/>
                <a:gd name="connsiteY7" fmla="*/ 5979 h 240364"/>
                <a:gd name="connsiteX8" fmla="*/ 53877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793" y="56631"/>
                    <a:pt x="114669" y="53868"/>
                    <a:pt x="102694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7" y="5979"/>
                  </a:lnTo>
                  <a:lnTo>
                    <a:pt x="53877" y="35454"/>
                  </a:lnTo>
                  <a:lnTo>
                    <a:pt x="54798" y="35454"/>
                  </a:lnTo>
                  <a:cubicBezTo>
                    <a:pt x="67224" y="13348"/>
                    <a:pt x="89331" y="0"/>
                    <a:pt x="116042" y="0"/>
                  </a:cubicBezTo>
                  <a:cubicBezTo>
                    <a:pt x="123872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8" name="Freihandform: Form 239">
              <a:extLst>
                <a:ext uri="{FF2B5EF4-FFF2-40B4-BE49-F238E27FC236}">
                  <a16:creationId xmlns:a16="http://schemas.microsoft.com/office/drawing/2014/main" id="{DCB92FD4-2389-9140-A8F7-92248E9D6DF0}"/>
                </a:ext>
              </a:extLst>
            </p:cNvPr>
            <p:cNvSpPr/>
            <p:nvPr/>
          </p:nvSpPr>
          <p:spPr>
            <a:xfrm>
              <a:off x="9871287" y="2039148"/>
              <a:ext cx="180510" cy="245891"/>
            </a:xfrm>
            <a:custGeom>
              <a:avLst/>
              <a:gdLst>
                <a:gd name="connsiteX0" fmla="*/ 26234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2 h 245891"/>
                <a:gd name="connsiteX11" fmla="*/ 0 w 180510"/>
                <a:gd name="connsiteY11" fmla="*/ 217337 h 245891"/>
                <a:gd name="connsiteX12" fmla="*/ 26234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4" y="174063"/>
                  </a:moveTo>
                  <a:cubicBezTo>
                    <a:pt x="49261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82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2"/>
                    <a:pt x="90251" y="245892"/>
                  </a:cubicBezTo>
                  <a:cubicBezTo>
                    <a:pt x="58941" y="245892"/>
                    <a:pt x="27172" y="236220"/>
                    <a:pt x="0" y="217337"/>
                  </a:cubicBezTo>
                  <a:lnTo>
                    <a:pt x="26234" y="1740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9" name="Freihandform: Form 240">
              <a:extLst>
                <a:ext uri="{FF2B5EF4-FFF2-40B4-BE49-F238E27FC236}">
                  <a16:creationId xmlns:a16="http://schemas.microsoft.com/office/drawing/2014/main" id="{4171F757-5F70-944A-8817-6E94347704FF}"/>
                </a:ext>
              </a:extLst>
            </p:cNvPr>
            <p:cNvSpPr/>
            <p:nvPr/>
          </p:nvSpPr>
          <p:spPr>
            <a:xfrm>
              <a:off x="10103018" y="1941059"/>
              <a:ext cx="69535" cy="338461"/>
            </a:xfrm>
            <a:custGeom>
              <a:avLst/>
              <a:gdLst>
                <a:gd name="connsiteX0" fmla="*/ 69535 w 69535"/>
                <a:gd name="connsiteY0" fmla="*/ 33160 h 338461"/>
                <a:gd name="connsiteX1" fmla="*/ 34533 w 69535"/>
                <a:gd name="connsiteY1" fmla="*/ 66311 h 338461"/>
                <a:gd name="connsiteX2" fmla="*/ 0 w 69535"/>
                <a:gd name="connsiteY2" fmla="*/ 33160 h 338461"/>
                <a:gd name="connsiteX3" fmla="*/ 34533 w 69535"/>
                <a:gd name="connsiteY3" fmla="*/ 0 h 338461"/>
                <a:gd name="connsiteX4" fmla="*/ 69535 w 69535"/>
                <a:gd name="connsiteY4" fmla="*/ 33160 h 338461"/>
                <a:gd name="connsiteX5" fmla="*/ 62166 w 69535"/>
                <a:gd name="connsiteY5" fmla="*/ 338462 h 338461"/>
                <a:gd name="connsiteX6" fmla="*/ 7369 w 69535"/>
                <a:gd name="connsiteY6" fmla="*/ 338462 h 338461"/>
                <a:gd name="connsiteX7" fmla="*/ 7369 w 69535"/>
                <a:gd name="connsiteY7" fmla="*/ 104076 h 338461"/>
                <a:gd name="connsiteX8" fmla="*/ 62166 w 69535"/>
                <a:gd name="connsiteY8" fmla="*/ 104076 h 338461"/>
                <a:gd name="connsiteX9" fmla="*/ 62166 w 69535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5" h="338461">
                  <a:moveTo>
                    <a:pt x="69535" y="33160"/>
                  </a:moveTo>
                  <a:cubicBezTo>
                    <a:pt x="69535" y="52503"/>
                    <a:pt x="53877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7" y="0"/>
                    <a:pt x="69535" y="14277"/>
                    <a:pt x="69535" y="33160"/>
                  </a:cubicBezTo>
                  <a:close/>
                  <a:moveTo>
                    <a:pt x="62166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6" y="104076"/>
                  </a:lnTo>
                  <a:lnTo>
                    <a:pt x="62166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0" name="Freihandform: Form 241">
              <a:extLst>
                <a:ext uri="{FF2B5EF4-FFF2-40B4-BE49-F238E27FC236}">
                  <a16:creationId xmlns:a16="http://schemas.microsoft.com/office/drawing/2014/main" id="{6257016F-8F9D-2E46-B394-E8FE7C9683F4}"/>
                </a:ext>
              </a:extLst>
            </p:cNvPr>
            <p:cNvSpPr/>
            <p:nvPr/>
          </p:nvSpPr>
          <p:spPr>
            <a:xfrm>
              <a:off x="10211675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1" name="Freihandform: Form 242">
              <a:extLst>
                <a:ext uri="{FF2B5EF4-FFF2-40B4-BE49-F238E27FC236}">
                  <a16:creationId xmlns:a16="http://schemas.microsoft.com/office/drawing/2014/main" id="{2BF30C56-C1B7-7544-B1CF-EBBC924BE172}"/>
                </a:ext>
              </a:extLst>
            </p:cNvPr>
            <p:cNvSpPr/>
            <p:nvPr/>
          </p:nvSpPr>
          <p:spPr>
            <a:xfrm>
              <a:off x="10400449" y="1944744"/>
              <a:ext cx="198923" cy="340304"/>
            </a:xfrm>
            <a:custGeom>
              <a:avLst/>
              <a:gdLst>
                <a:gd name="connsiteX0" fmla="*/ 100835 w 198923"/>
                <a:gd name="connsiteY0" fmla="*/ 189261 h 340304"/>
                <a:gd name="connsiteX1" fmla="*/ 145040 w 198923"/>
                <a:gd name="connsiteY1" fmla="*/ 194327 h 340304"/>
                <a:gd name="connsiteX2" fmla="*/ 145040 w 198923"/>
                <a:gd name="connsiteY2" fmla="*/ 186037 h 340304"/>
                <a:gd name="connsiteX3" fmla="*/ 93466 w 198923"/>
                <a:gd name="connsiteY3" fmla="*/ 140451 h 340304"/>
                <a:gd name="connsiteX4" fmla="*/ 34064 w 198923"/>
                <a:gd name="connsiteY4" fmla="*/ 153807 h 340304"/>
                <a:gd name="connsiteX5" fmla="*/ 22090 w 198923"/>
                <a:gd name="connsiteY5" fmla="*/ 107760 h 340304"/>
                <a:gd name="connsiteX6" fmla="*/ 98993 w 198923"/>
                <a:gd name="connsiteY6" fmla="*/ 94404 h 340304"/>
                <a:gd name="connsiteX7" fmla="*/ 198924 w 198923"/>
                <a:gd name="connsiteY7" fmla="*/ 185116 h 340304"/>
                <a:gd name="connsiteX8" fmla="*/ 198924 w 198923"/>
                <a:gd name="connsiteY8" fmla="*/ 334778 h 340304"/>
                <a:gd name="connsiteX9" fmla="*/ 146882 w 198923"/>
                <a:gd name="connsiteY9" fmla="*/ 334778 h 340304"/>
                <a:gd name="connsiteX10" fmla="*/ 146882 w 198923"/>
                <a:gd name="connsiteY10" fmla="*/ 309908 h 340304"/>
                <a:gd name="connsiteX11" fmla="*/ 145969 w 198923"/>
                <a:gd name="connsiteY11" fmla="*/ 309908 h 340304"/>
                <a:gd name="connsiteX12" fmla="*/ 77356 w 198923"/>
                <a:gd name="connsiteY12" fmla="*/ 340304 h 340304"/>
                <a:gd name="connsiteX13" fmla="*/ 0 w 198923"/>
                <a:gd name="connsiteY13" fmla="*/ 265703 h 340304"/>
                <a:gd name="connsiteX14" fmla="*/ 100835 w 198923"/>
                <a:gd name="connsiteY14" fmla="*/ 189261 h 340304"/>
                <a:gd name="connsiteX15" fmla="*/ 56170 w 198923"/>
                <a:gd name="connsiteY15" fmla="*/ 64008 h 340304"/>
                <a:gd name="connsiteX16" fmla="*/ 23480 w 198923"/>
                <a:gd name="connsiteY16" fmla="*/ 32238 h 340304"/>
                <a:gd name="connsiteX17" fmla="*/ 56170 w 198923"/>
                <a:gd name="connsiteY17" fmla="*/ 0 h 340304"/>
                <a:gd name="connsiteX18" fmla="*/ 88861 w 198923"/>
                <a:gd name="connsiteY18" fmla="*/ 32238 h 340304"/>
                <a:gd name="connsiteX19" fmla="*/ 56170 w 198923"/>
                <a:gd name="connsiteY19" fmla="*/ 64008 h 340304"/>
                <a:gd name="connsiteX20" fmla="*/ 91624 w 198923"/>
                <a:gd name="connsiteY20" fmla="*/ 299324 h 340304"/>
                <a:gd name="connsiteX21" fmla="*/ 145040 w 198923"/>
                <a:gd name="connsiteY21" fmla="*/ 271238 h 340304"/>
                <a:gd name="connsiteX22" fmla="*/ 145040 w 198923"/>
                <a:gd name="connsiteY22" fmla="*/ 230250 h 340304"/>
                <a:gd name="connsiteX23" fmla="*/ 106823 w 198923"/>
                <a:gd name="connsiteY23" fmla="*/ 225644 h 340304"/>
                <a:gd name="connsiteX24" fmla="*/ 52486 w 198923"/>
                <a:gd name="connsiteY24" fmla="*/ 264322 h 340304"/>
                <a:gd name="connsiteX25" fmla="*/ 91624 w 198923"/>
                <a:gd name="connsiteY25" fmla="*/ 299324 h 340304"/>
                <a:gd name="connsiteX26" fmla="*/ 151948 w 198923"/>
                <a:gd name="connsiteY26" fmla="*/ 64008 h 340304"/>
                <a:gd name="connsiteX27" fmla="*/ 119258 w 198923"/>
                <a:gd name="connsiteY27" fmla="*/ 32238 h 340304"/>
                <a:gd name="connsiteX28" fmla="*/ 151948 w 198923"/>
                <a:gd name="connsiteY28" fmla="*/ 0 h 340304"/>
                <a:gd name="connsiteX29" fmla="*/ 184639 w 198923"/>
                <a:gd name="connsiteY29" fmla="*/ 32238 h 340304"/>
                <a:gd name="connsiteX30" fmla="*/ 151948 w 198923"/>
                <a:gd name="connsiteY30" fmla="*/ 64008 h 3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923" h="340304">
                  <a:moveTo>
                    <a:pt x="100835" y="189261"/>
                  </a:moveTo>
                  <a:cubicBezTo>
                    <a:pt x="116026" y="189261"/>
                    <a:pt x="129851" y="190182"/>
                    <a:pt x="145040" y="194327"/>
                  </a:cubicBezTo>
                  <a:lnTo>
                    <a:pt x="145040" y="186037"/>
                  </a:lnTo>
                  <a:cubicBezTo>
                    <a:pt x="145040" y="156109"/>
                    <a:pt x="127539" y="140451"/>
                    <a:pt x="93466" y="140451"/>
                  </a:cubicBezTo>
                  <a:cubicBezTo>
                    <a:pt x="74584" y="140451"/>
                    <a:pt x="53407" y="145056"/>
                    <a:pt x="34064" y="153807"/>
                  </a:cubicBezTo>
                  <a:lnTo>
                    <a:pt x="22090" y="107760"/>
                  </a:lnTo>
                  <a:cubicBezTo>
                    <a:pt x="43727" y="99470"/>
                    <a:pt x="72282" y="94404"/>
                    <a:pt x="98993" y="94404"/>
                  </a:cubicBezTo>
                  <a:cubicBezTo>
                    <a:pt x="164844" y="94404"/>
                    <a:pt x="198924" y="125261"/>
                    <a:pt x="198924" y="185116"/>
                  </a:cubicBezTo>
                  <a:lnTo>
                    <a:pt x="198924" y="334778"/>
                  </a:lnTo>
                  <a:lnTo>
                    <a:pt x="146882" y="334778"/>
                  </a:lnTo>
                  <a:lnTo>
                    <a:pt x="146882" y="309908"/>
                  </a:lnTo>
                  <a:lnTo>
                    <a:pt x="145969" y="309908"/>
                  </a:lnTo>
                  <a:cubicBezTo>
                    <a:pt x="125705" y="330633"/>
                    <a:pt x="104528" y="340304"/>
                    <a:pt x="77356" y="340304"/>
                  </a:cubicBezTo>
                  <a:cubicBezTo>
                    <a:pt x="30388" y="340304"/>
                    <a:pt x="0" y="311290"/>
                    <a:pt x="0" y="265703"/>
                  </a:cubicBezTo>
                  <a:cubicBezTo>
                    <a:pt x="-8" y="215973"/>
                    <a:pt x="35446" y="189261"/>
                    <a:pt x="100835" y="189261"/>
                  </a:cubicBezTo>
                  <a:close/>
                  <a:moveTo>
                    <a:pt x="56170" y="64008"/>
                  </a:moveTo>
                  <a:cubicBezTo>
                    <a:pt x="38670" y="64008"/>
                    <a:pt x="23480" y="49270"/>
                    <a:pt x="23480" y="32238"/>
                  </a:cubicBezTo>
                  <a:cubicBezTo>
                    <a:pt x="23480" y="15198"/>
                    <a:pt x="38670" y="0"/>
                    <a:pt x="56170" y="0"/>
                  </a:cubicBezTo>
                  <a:cubicBezTo>
                    <a:pt x="73671" y="0"/>
                    <a:pt x="88861" y="15190"/>
                    <a:pt x="88861" y="32238"/>
                  </a:cubicBezTo>
                  <a:cubicBezTo>
                    <a:pt x="88861" y="49270"/>
                    <a:pt x="73671" y="64008"/>
                    <a:pt x="56170" y="64008"/>
                  </a:cubicBezTo>
                  <a:close/>
                  <a:moveTo>
                    <a:pt x="91624" y="299324"/>
                  </a:moveTo>
                  <a:cubicBezTo>
                    <a:pt x="111420" y="299324"/>
                    <a:pt x="129841" y="289652"/>
                    <a:pt x="145040" y="271238"/>
                  </a:cubicBezTo>
                  <a:lnTo>
                    <a:pt x="145040" y="230250"/>
                  </a:lnTo>
                  <a:cubicBezTo>
                    <a:pt x="132144" y="227026"/>
                    <a:pt x="118789" y="225644"/>
                    <a:pt x="106823" y="225644"/>
                  </a:cubicBezTo>
                  <a:cubicBezTo>
                    <a:pt x="72290" y="225644"/>
                    <a:pt x="52486" y="239452"/>
                    <a:pt x="52486" y="264322"/>
                  </a:cubicBezTo>
                  <a:cubicBezTo>
                    <a:pt x="52477" y="285968"/>
                    <a:pt x="67684" y="299324"/>
                    <a:pt x="91624" y="299324"/>
                  </a:cubicBezTo>
                  <a:close/>
                  <a:moveTo>
                    <a:pt x="151948" y="64008"/>
                  </a:moveTo>
                  <a:cubicBezTo>
                    <a:pt x="134447" y="64008"/>
                    <a:pt x="119258" y="49270"/>
                    <a:pt x="119258" y="32238"/>
                  </a:cubicBezTo>
                  <a:cubicBezTo>
                    <a:pt x="119258" y="15198"/>
                    <a:pt x="134447" y="0"/>
                    <a:pt x="151948" y="0"/>
                  </a:cubicBezTo>
                  <a:cubicBezTo>
                    <a:pt x="169448" y="0"/>
                    <a:pt x="184639" y="15190"/>
                    <a:pt x="184639" y="32238"/>
                  </a:cubicBezTo>
                  <a:cubicBezTo>
                    <a:pt x="184647" y="49270"/>
                    <a:pt x="169448" y="64008"/>
                    <a:pt x="151948" y="6400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2" name="Freihandform: Form 243">
              <a:extLst>
                <a:ext uri="{FF2B5EF4-FFF2-40B4-BE49-F238E27FC236}">
                  <a16:creationId xmlns:a16="http://schemas.microsoft.com/office/drawing/2014/main" id="{F7CD9617-8F30-4B49-A7E4-3EAC509775B5}"/>
                </a:ext>
              </a:extLst>
            </p:cNvPr>
            <p:cNvSpPr/>
            <p:nvPr/>
          </p:nvSpPr>
          <p:spPr>
            <a:xfrm>
              <a:off x="10641954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6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3" name="Freihandform: Form 244">
              <a:extLst>
                <a:ext uri="{FF2B5EF4-FFF2-40B4-BE49-F238E27FC236}">
                  <a16:creationId xmlns:a16="http://schemas.microsoft.com/office/drawing/2014/main" id="{BAB093E7-3685-6340-B9B5-88D38A8D5923}"/>
                </a:ext>
              </a:extLst>
            </p:cNvPr>
            <p:cNvSpPr/>
            <p:nvPr/>
          </p:nvSpPr>
          <p:spPr>
            <a:xfrm>
              <a:off x="4034676" y="2461949"/>
              <a:ext cx="203537" cy="324184"/>
            </a:xfrm>
            <a:custGeom>
              <a:avLst/>
              <a:gdLst>
                <a:gd name="connsiteX0" fmla="*/ 203538 w 203537"/>
                <a:gd name="connsiteY0" fmla="*/ 52955 h 324184"/>
                <a:gd name="connsiteX1" fmla="*/ 57561 w 203537"/>
                <a:gd name="connsiteY1" fmla="*/ 52955 h 324184"/>
                <a:gd name="connsiteX2" fmla="*/ 57561 w 203537"/>
                <a:gd name="connsiteY2" fmla="*/ 133543 h 324184"/>
                <a:gd name="connsiteX3" fmla="*/ 166694 w 203537"/>
                <a:gd name="connsiteY3" fmla="*/ 133543 h 324184"/>
                <a:gd name="connsiteX4" fmla="*/ 166694 w 203537"/>
                <a:gd name="connsiteY4" fmla="*/ 186037 h 324184"/>
                <a:gd name="connsiteX5" fmla="*/ 57561 w 203537"/>
                <a:gd name="connsiteY5" fmla="*/ 186037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55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55"/>
                  </a:moveTo>
                  <a:lnTo>
                    <a:pt x="57561" y="52955"/>
                  </a:lnTo>
                  <a:lnTo>
                    <a:pt x="57561" y="133543"/>
                  </a:lnTo>
                  <a:lnTo>
                    <a:pt x="166694" y="133543"/>
                  </a:lnTo>
                  <a:lnTo>
                    <a:pt x="166694" y="186037"/>
                  </a:lnTo>
                  <a:lnTo>
                    <a:pt x="57561" y="186037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5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4" name="Freihandform: Form 245">
              <a:extLst>
                <a:ext uri="{FF2B5EF4-FFF2-40B4-BE49-F238E27FC236}">
                  <a16:creationId xmlns:a16="http://schemas.microsoft.com/office/drawing/2014/main" id="{0051B84B-023D-E74F-8E3A-F94E4A88C194}"/>
                </a:ext>
              </a:extLst>
            </p:cNvPr>
            <p:cNvSpPr/>
            <p:nvPr/>
          </p:nvSpPr>
          <p:spPr>
            <a:xfrm>
              <a:off x="4248564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94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5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7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52" y="132621"/>
                    <a:pt x="118796" y="131240"/>
                    <a:pt x="106822" y="131240"/>
                  </a:cubicBezTo>
                  <a:cubicBezTo>
                    <a:pt x="72289" y="131240"/>
                    <a:pt x="52494" y="145048"/>
                    <a:pt x="52494" y="169918"/>
                  </a:cubicBezTo>
                  <a:cubicBezTo>
                    <a:pt x="52494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5" name="Freihandform: Form 246">
              <a:extLst>
                <a:ext uri="{FF2B5EF4-FFF2-40B4-BE49-F238E27FC236}">
                  <a16:creationId xmlns:a16="http://schemas.microsoft.com/office/drawing/2014/main" id="{4BAFB966-823E-4F41-89AB-EA370343F181}"/>
                </a:ext>
              </a:extLst>
            </p:cNvPr>
            <p:cNvSpPr/>
            <p:nvPr/>
          </p:nvSpPr>
          <p:spPr>
            <a:xfrm>
              <a:off x="4504663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1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09" y="50191"/>
                  </a:cubicBezTo>
                  <a:cubicBezTo>
                    <a:pt x="78276" y="50191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71" y="196161"/>
                    <a:pt x="145509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6" name="Freihandform: Form 247">
              <a:extLst>
                <a:ext uri="{FF2B5EF4-FFF2-40B4-BE49-F238E27FC236}">
                  <a16:creationId xmlns:a16="http://schemas.microsoft.com/office/drawing/2014/main" id="{AF1CCB16-C922-9E43-86CB-2B2B1C376275}"/>
                </a:ext>
              </a:extLst>
            </p:cNvPr>
            <p:cNvSpPr/>
            <p:nvPr/>
          </p:nvSpPr>
          <p:spPr>
            <a:xfrm>
              <a:off x="4749206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8 w 201695"/>
                <a:gd name="connsiteY10" fmla="*/ 136298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298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7" name="Freihandform: Form 248">
              <a:extLst>
                <a:ext uri="{FF2B5EF4-FFF2-40B4-BE49-F238E27FC236}">
                  <a16:creationId xmlns:a16="http://schemas.microsoft.com/office/drawing/2014/main" id="{A5B8446F-9D49-F741-8DDA-4EF3B3428618}"/>
                </a:ext>
              </a:extLst>
            </p:cNvPr>
            <p:cNvSpPr/>
            <p:nvPr/>
          </p:nvSpPr>
          <p:spPr>
            <a:xfrm>
              <a:off x="5020788" y="2443535"/>
              <a:ext cx="218735" cy="348125"/>
            </a:xfrm>
            <a:custGeom>
              <a:avLst/>
              <a:gdLst>
                <a:gd name="connsiteX0" fmla="*/ 218736 w 218735"/>
                <a:gd name="connsiteY0" fmla="*/ 223785 h 348125"/>
                <a:gd name="connsiteX1" fmla="*/ 122959 w 218735"/>
                <a:gd name="connsiteY1" fmla="*/ 348125 h 348125"/>
                <a:gd name="connsiteX2" fmla="*/ 53424 w 218735"/>
                <a:gd name="connsiteY2" fmla="*/ 315434 h 348125"/>
                <a:gd name="connsiteX3" fmla="*/ 52503 w 218735"/>
                <a:gd name="connsiteY3" fmla="*/ 315434 h 348125"/>
                <a:gd name="connsiteX4" fmla="*/ 52503 w 218735"/>
                <a:gd name="connsiteY4" fmla="*/ 342599 h 348125"/>
                <a:gd name="connsiteX5" fmla="*/ 0 w 218735"/>
                <a:gd name="connsiteY5" fmla="*/ 342599 h 348125"/>
                <a:gd name="connsiteX6" fmla="*/ 0 w 218735"/>
                <a:gd name="connsiteY6" fmla="*/ 13808 h 348125"/>
                <a:gd name="connsiteX7" fmla="*/ 54806 w 218735"/>
                <a:gd name="connsiteY7" fmla="*/ 0 h 348125"/>
                <a:gd name="connsiteX8" fmla="*/ 54806 w 218735"/>
                <a:gd name="connsiteY8" fmla="*/ 135376 h 348125"/>
                <a:gd name="connsiteX9" fmla="*/ 55719 w 218735"/>
                <a:gd name="connsiteY9" fmla="*/ 135376 h 348125"/>
                <a:gd name="connsiteX10" fmla="*/ 124332 w 218735"/>
                <a:gd name="connsiteY10" fmla="*/ 102225 h 348125"/>
                <a:gd name="connsiteX11" fmla="*/ 218736 w 218735"/>
                <a:gd name="connsiteY11" fmla="*/ 223785 h 348125"/>
                <a:gd name="connsiteX12" fmla="*/ 164852 w 218735"/>
                <a:gd name="connsiteY12" fmla="*/ 225167 h 348125"/>
                <a:gd name="connsiteX13" fmla="*/ 110055 w 218735"/>
                <a:gd name="connsiteY13" fmla="*/ 151487 h 348125"/>
                <a:gd name="connsiteX14" fmla="*/ 54797 w 218735"/>
                <a:gd name="connsiteY14" fmla="*/ 181883 h 348125"/>
                <a:gd name="connsiteX15" fmla="*/ 54797 w 218735"/>
                <a:gd name="connsiteY15" fmla="*/ 267537 h 348125"/>
                <a:gd name="connsiteX16" fmla="*/ 110507 w 218735"/>
                <a:gd name="connsiteY16" fmla="*/ 299315 h 348125"/>
                <a:gd name="connsiteX17" fmla="*/ 164852 w 218735"/>
                <a:gd name="connsiteY17" fmla="*/ 225167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735" h="348125">
                  <a:moveTo>
                    <a:pt x="218736" y="223785"/>
                  </a:moveTo>
                  <a:cubicBezTo>
                    <a:pt x="218736" y="299315"/>
                    <a:pt x="180519" y="348125"/>
                    <a:pt x="122959" y="348125"/>
                  </a:cubicBezTo>
                  <a:cubicBezTo>
                    <a:pt x="93483" y="348125"/>
                    <a:pt x="69074" y="335690"/>
                    <a:pt x="53424" y="315434"/>
                  </a:cubicBezTo>
                  <a:lnTo>
                    <a:pt x="52503" y="315434"/>
                  </a:lnTo>
                  <a:lnTo>
                    <a:pt x="52503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806" y="0"/>
                  </a:lnTo>
                  <a:lnTo>
                    <a:pt x="54806" y="135376"/>
                  </a:lnTo>
                  <a:lnTo>
                    <a:pt x="55719" y="135376"/>
                  </a:lnTo>
                  <a:cubicBezTo>
                    <a:pt x="71377" y="114652"/>
                    <a:pt x="95317" y="102225"/>
                    <a:pt x="124332" y="102225"/>
                  </a:cubicBezTo>
                  <a:cubicBezTo>
                    <a:pt x="180510" y="102217"/>
                    <a:pt x="218736" y="147803"/>
                    <a:pt x="218736" y="223785"/>
                  </a:cubicBezTo>
                  <a:close/>
                  <a:moveTo>
                    <a:pt x="164852" y="225167"/>
                  </a:moveTo>
                  <a:cubicBezTo>
                    <a:pt x="164852" y="176826"/>
                    <a:pt x="145056" y="151487"/>
                    <a:pt x="110055" y="151487"/>
                  </a:cubicBezTo>
                  <a:cubicBezTo>
                    <a:pt x="88878" y="151487"/>
                    <a:pt x="71838" y="160707"/>
                    <a:pt x="54797" y="181883"/>
                  </a:cubicBezTo>
                  <a:lnTo>
                    <a:pt x="54797" y="267537"/>
                  </a:lnTo>
                  <a:cubicBezTo>
                    <a:pt x="70448" y="288262"/>
                    <a:pt x="87949" y="299315"/>
                    <a:pt x="110507" y="299315"/>
                  </a:cubicBezTo>
                  <a:cubicBezTo>
                    <a:pt x="145969" y="299307"/>
                    <a:pt x="164852" y="272134"/>
                    <a:pt x="164852" y="225167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8" name="Freihandform: Form 249">
              <a:extLst>
                <a:ext uri="{FF2B5EF4-FFF2-40B4-BE49-F238E27FC236}">
                  <a16:creationId xmlns:a16="http://schemas.microsoft.com/office/drawing/2014/main" id="{870A3657-DD27-0445-8C25-C01E47072770}"/>
                </a:ext>
              </a:extLst>
            </p:cNvPr>
            <p:cNvSpPr/>
            <p:nvPr/>
          </p:nvSpPr>
          <p:spPr>
            <a:xfrm>
              <a:off x="5287630" y="2545752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806 w 214138"/>
                <a:gd name="connsiteY10" fmla="*/ 101765 h 245899"/>
                <a:gd name="connsiteX11" fmla="*/ 161176 w 214138"/>
                <a:gd name="connsiteY11" fmla="*/ 101765 h 245899"/>
                <a:gd name="connsiteX12" fmla="*/ 109134 w 214138"/>
                <a:gd name="connsiteY12" fmla="*/ 45125 h 245899"/>
                <a:gd name="connsiteX13" fmla="*/ 54806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7" y="198924"/>
                    <a:pt x="155658" y="190634"/>
                    <a:pt x="174079" y="171291"/>
                  </a:cubicBezTo>
                  <a:lnTo>
                    <a:pt x="208152" y="207214"/>
                  </a:lnTo>
                  <a:cubicBezTo>
                    <a:pt x="181440" y="233465"/>
                    <a:pt x="151504" y="245900"/>
                    <a:pt x="116042" y="245900"/>
                  </a:cubicBezTo>
                  <a:close/>
                  <a:moveTo>
                    <a:pt x="54806" y="101765"/>
                  </a:moveTo>
                  <a:lnTo>
                    <a:pt x="161176" y="101765"/>
                  </a:lnTo>
                  <a:cubicBezTo>
                    <a:pt x="158873" y="65850"/>
                    <a:pt x="139990" y="45125"/>
                    <a:pt x="109134" y="45125"/>
                  </a:cubicBezTo>
                  <a:cubicBezTo>
                    <a:pt x="78746" y="45134"/>
                    <a:pt x="59411" y="65390"/>
                    <a:pt x="54806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Freihandform: Form 250">
              <a:extLst>
                <a:ext uri="{FF2B5EF4-FFF2-40B4-BE49-F238E27FC236}">
                  <a16:creationId xmlns:a16="http://schemas.microsoft.com/office/drawing/2014/main" id="{C4124434-9F18-8749-8CBA-7FFE97BD73C2}"/>
                </a:ext>
              </a:extLst>
            </p:cNvPr>
            <p:cNvSpPr/>
            <p:nvPr/>
          </p:nvSpPr>
          <p:spPr>
            <a:xfrm>
              <a:off x="5561607" y="2545769"/>
              <a:ext cx="141832" cy="240365"/>
            </a:xfrm>
            <a:custGeom>
              <a:avLst/>
              <a:gdLst>
                <a:gd name="connsiteX0" fmla="*/ 141833 w 141832"/>
                <a:gd name="connsiteY0" fmla="*/ 5049 h 240365"/>
                <a:gd name="connsiteX1" fmla="*/ 133082 w 141832"/>
                <a:gd name="connsiteY1" fmla="*/ 61228 h 240365"/>
                <a:gd name="connsiteX2" fmla="*/ 102686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34 w 141832"/>
                <a:gd name="connsiteY10" fmla="*/ 0 h 240365"/>
                <a:gd name="connsiteX11" fmla="*/ 141833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3" y="5049"/>
                  </a:moveTo>
                  <a:lnTo>
                    <a:pt x="133082" y="61228"/>
                  </a:lnTo>
                  <a:cubicBezTo>
                    <a:pt x="124792" y="56623"/>
                    <a:pt x="114661" y="53859"/>
                    <a:pt x="102686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4" y="0"/>
                  </a:cubicBezTo>
                  <a:cubicBezTo>
                    <a:pt x="123879" y="-17"/>
                    <a:pt x="133543" y="1365"/>
                    <a:pt x="141833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0" name="Freihandform: Form 251">
              <a:extLst>
                <a:ext uri="{FF2B5EF4-FFF2-40B4-BE49-F238E27FC236}">
                  <a16:creationId xmlns:a16="http://schemas.microsoft.com/office/drawing/2014/main" id="{BE4F02D9-2693-4646-9E53-DF918A0EB149}"/>
                </a:ext>
              </a:extLst>
            </p:cNvPr>
            <p:cNvSpPr/>
            <p:nvPr/>
          </p:nvSpPr>
          <p:spPr>
            <a:xfrm>
              <a:off x="5733668" y="2545752"/>
              <a:ext cx="214138" cy="245899"/>
            </a:xfrm>
            <a:custGeom>
              <a:avLst/>
              <a:gdLst>
                <a:gd name="connsiteX0" fmla="*/ 116041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6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1 w 214138"/>
                <a:gd name="connsiteY8" fmla="*/ 207214 h 245899"/>
                <a:gd name="connsiteX9" fmla="*/ 116041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5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1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6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6" y="198924"/>
                    <a:pt x="155657" y="190634"/>
                    <a:pt x="174079" y="171291"/>
                  </a:cubicBezTo>
                  <a:lnTo>
                    <a:pt x="208151" y="207214"/>
                  </a:lnTo>
                  <a:cubicBezTo>
                    <a:pt x="181431" y="233465"/>
                    <a:pt x="151495" y="245900"/>
                    <a:pt x="116041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5"/>
                    <a:pt x="109125" y="45125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1" name="Freihandform: Form 252">
              <a:extLst>
                <a:ext uri="{FF2B5EF4-FFF2-40B4-BE49-F238E27FC236}">
                  <a16:creationId xmlns:a16="http://schemas.microsoft.com/office/drawing/2014/main" id="{638B3A4F-4611-5942-8784-73DFF4DB7DD6}"/>
                </a:ext>
              </a:extLst>
            </p:cNvPr>
            <p:cNvSpPr/>
            <p:nvPr/>
          </p:nvSpPr>
          <p:spPr>
            <a:xfrm>
              <a:off x="5999489" y="2447663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2" name="Freihandform: Form 253">
              <a:extLst>
                <a:ext uri="{FF2B5EF4-FFF2-40B4-BE49-F238E27FC236}">
                  <a16:creationId xmlns:a16="http://schemas.microsoft.com/office/drawing/2014/main" id="{8DEBDADB-4DAD-BA4E-949D-ECADBE6E57A8}"/>
                </a:ext>
              </a:extLst>
            </p:cNvPr>
            <p:cNvSpPr/>
            <p:nvPr/>
          </p:nvSpPr>
          <p:spPr>
            <a:xfrm>
              <a:off x="6120438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8 w 197542"/>
                <a:gd name="connsiteY5" fmla="*/ 75974 h 245899"/>
                <a:gd name="connsiteX6" fmla="*/ 112810 w 197542"/>
                <a:gd name="connsiteY6" fmla="*/ 50191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8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63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3" name="Freihandform: Form 254">
              <a:extLst>
                <a:ext uri="{FF2B5EF4-FFF2-40B4-BE49-F238E27FC236}">
                  <a16:creationId xmlns:a16="http://schemas.microsoft.com/office/drawing/2014/main" id="{D63D2EBA-E6BE-EE40-A4F9-901ABAE18641}"/>
                </a:ext>
              </a:extLst>
            </p:cNvPr>
            <p:cNvSpPr/>
            <p:nvPr/>
          </p:nvSpPr>
          <p:spPr>
            <a:xfrm>
              <a:off x="6364973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9 w 201695"/>
                <a:gd name="connsiteY10" fmla="*/ 136298 h 342598"/>
                <a:gd name="connsiteX11" fmla="*/ 124324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9" y="136298"/>
                  </a:lnTo>
                  <a:cubicBezTo>
                    <a:pt x="69074" y="115573"/>
                    <a:pt x="93483" y="102225"/>
                    <a:pt x="124324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4" name="Freihandform: Form 255">
              <a:extLst>
                <a:ext uri="{FF2B5EF4-FFF2-40B4-BE49-F238E27FC236}">
                  <a16:creationId xmlns:a16="http://schemas.microsoft.com/office/drawing/2014/main" id="{5D21E38F-0C44-C245-B0AA-44A8F5144D50}"/>
                </a:ext>
              </a:extLst>
            </p:cNvPr>
            <p:cNvSpPr/>
            <p:nvPr/>
          </p:nvSpPr>
          <p:spPr>
            <a:xfrm>
              <a:off x="6751826" y="2461940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9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2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9 w 398768"/>
                <a:gd name="connsiteY9" fmla="*/ 0 h 324184"/>
                <a:gd name="connsiteX10" fmla="*/ 317260 w 398768"/>
                <a:gd name="connsiteY10" fmla="*/ 324185 h 324184"/>
                <a:gd name="connsiteX11" fmla="*/ 257858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9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2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9" y="0"/>
                  </a:lnTo>
                  <a:lnTo>
                    <a:pt x="317260" y="324185"/>
                  </a:lnTo>
                  <a:lnTo>
                    <a:pt x="257858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5" name="Freihandform: Form 256">
              <a:extLst>
                <a:ext uri="{FF2B5EF4-FFF2-40B4-BE49-F238E27FC236}">
                  <a16:creationId xmlns:a16="http://schemas.microsoft.com/office/drawing/2014/main" id="{3CC6A7CB-3E31-8541-8006-B5984A15B9ED}"/>
                </a:ext>
              </a:extLst>
            </p:cNvPr>
            <p:cNvSpPr/>
            <p:nvPr/>
          </p:nvSpPr>
          <p:spPr>
            <a:xfrm>
              <a:off x="7196759" y="2447663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6" name="Freihandform: Form 257">
              <a:extLst>
                <a:ext uri="{FF2B5EF4-FFF2-40B4-BE49-F238E27FC236}">
                  <a16:creationId xmlns:a16="http://schemas.microsoft.com/office/drawing/2014/main" id="{E74133E8-6F5E-5643-A6FC-F8D6234A9F2A}"/>
                </a:ext>
              </a:extLst>
            </p:cNvPr>
            <p:cNvSpPr/>
            <p:nvPr/>
          </p:nvSpPr>
          <p:spPr>
            <a:xfrm>
              <a:off x="7330586" y="2545769"/>
              <a:ext cx="141832" cy="240365"/>
            </a:xfrm>
            <a:custGeom>
              <a:avLst/>
              <a:gdLst>
                <a:gd name="connsiteX0" fmla="*/ 141832 w 141832"/>
                <a:gd name="connsiteY0" fmla="*/ 5049 h 240365"/>
                <a:gd name="connsiteX1" fmla="*/ 133082 w 141832"/>
                <a:gd name="connsiteY1" fmla="*/ 61228 h 240365"/>
                <a:gd name="connsiteX2" fmla="*/ 102694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41 w 141832"/>
                <a:gd name="connsiteY10" fmla="*/ 0 h 240365"/>
                <a:gd name="connsiteX11" fmla="*/ 141832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2" y="5049"/>
                  </a:moveTo>
                  <a:lnTo>
                    <a:pt x="133082" y="61228"/>
                  </a:lnTo>
                  <a:cubicBezTo>
                    <a:pt x="124792" y="56623"/>
                    <a:pt x="114668" y="53859"/>
                    <a:pt x="102694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3" y="13348"/>
                    <a:pt x="89330" y="0"/>
                    <a:pt x="116041" y="0"/>
                  </a:cubicBezTo>
                  <a:cubicBezTo>
                    <a:pt x="123871" y="-17"/>
                    <a:pt x="133543" y="1365"/>
                    <a:pt x="141832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7" name="Freihandform: Form 258">
              <a:extLst>
                <a:ext uri="{FF2B5EF4-FFF2-40B4-BE49-F238E27FC236}">
                  <a16:creationId xmlns:a16="http://schemas.microsoft.com/office/drawing/2014/main" id="{75BE20D8-3438-9645-9840-F163373B96DD}"/>
                </a:ext>
              </a:extLst>
            </p:cNvPr>
            <p:cNvSpPr/>
            <p:nvPr/>
          </p:nvSpPr>
          <p:spPr>
            <a:xfrm>
              <a:off x="7506323" y="2475749"/>
              <a:ext cx="145977" cy="315903"/>
            </a:xfrm>
            <a:custGeom>
              <a:avLst/>
              <a:gdLst>
                <a:gd name="connsiteX0" fmla="*/ 145978 w 145977"/>
                <a:gd name="connsiteY0" fmla="*/ 260185 h 315903"/>
                <a:gd name="connsiteX1" fmla="*/ 145978 w 145977"/>
                <a:gd name="connsiteY1" fmla="*/ 307153 h 315903"/>
                <a:gd name="connsiteX2" fmla="*/ 99923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2 w 145977"/>
                <a:gd name="connsiteY15" fmla="*/ 268006 h 315903"/>
                <a:gd name="connsiteX16" fmla="*/ 145978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3" y="312680"/>
                    <a:pt x="116041" y="315903"/>
                    <a:pt x="99923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20" y="268006"/>
                    <a:pt x="115572" y="268006"/>
                  </a:cubicBezTo>
                  <a:cubicBezTo>
                    <a:pt x="125721" y="268015"/>
                    <a:pt x="136766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8" name="Freihandform: Form 259">
              <a:extLst>
                <a:ext uri="{FF2B5EF4-FFF2-40B4-BE49-F238E27FC236}">
                  <a16:creationId xmlns:a16="http://schemas.microsoft.com/office/drawing/2014/main" id="{518DD1CA-CA79-404C-AB78-4A6A4817AC4F}"/>
                </a:ext>
              </a:extLst>
            </p:cNvPr>
            <p:cNvSpPr/>
            <p:nvPr/>
          </p:nvSpPr>
          <p:spPr>
            <a:xfrm>
              <a:off x="7691154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3" y="53415"/>
                    <a:pt x="115121" y="46499"/>
                    <a:pt x="97159" y="46499"/>
                  </a:cubicBezTo>
                  <a:cubicBezTo>
                    <a:pt x="76896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9" name="Freihandform: Form 260">
              <a:extLst>
                <a:ext uri="{FF2B5EF4-FFF2-40B4-BE49-F238E27FC236}">
                  <a16:creationId xmlns:a16="http://schemas.microsoft.com/office/drawing/2014/main" id="{DC219028-8534-0E49-9417-0E8110EEF41C}"/>
                </a:ext>
              </a:extLst>
            </p:cNvPr>
            <p:cNvSpPr/>
            <p:nvPr/>
          </p:nvSpPr>
          <p:spPr>
            <a:xfrm>
              <a:off x="7916480" y="2545760"/>
              <a:ext cx="197541" cy="245899"/>
            </a:xfrm>
            <a:custGeom>
              <a:avLst/>
              <a:gdLst>
                <a:gd name="connsiteX0" fmla="*/ 196169 w 197541"/>
                <a:gd name="connsiteY0" fmla="*/ 208135 h 245899"/>
                <a:gd name="connsiteX1" fmla="*/ 112357 w 197541"/>
                <a:gd name="connsiteY1" fmla="*/ 245900 h 245899"/>
                <a:gd name="connsiteX2" fmla="*/ 0 w 197541"/>
                <a:gd name="connsiteY2" fmla="*/ 123871 h 245899"/>
                <a:gd name="connsiteX3" fmla="*/ 113278 w 197541"/>
                <a:gd name="connsiteY3" fmla="*/ 0 h 245899"/>
                <a:gd name="connsiteX4" fmla="*/ 197542 w 197541"/>
                <a:gd name="connsiteY4" fmla="*/ 40059 h 245899"/>
                <a:gd name="connsiteX5" fmla="*/ 159777 w 197541"/>
                <a:gd name="connsiteY5" fmla="*/ 75974 h 245899"/>
                <a:gd name="connsiteX6" fmla="*/ 112810 w 197541"/>
                <a:gd name="connsiteY6" fmla="*/ 50191 h 245899"/>
                <a:gd name="connsiteX7" fmla="*/ 54788 w 197541"/>
                <a:gd name="connsiteY7" fmla="*/ 122942 h 245899"/>
                <a:gd name="connsiteX8" fmla="*/ 112349 w 197541"/>
                <a:gd name="connsiteY8" fmla="*/ 196161 h 245899"/>
                <a:gd name="connsiteX9" fmla="*/ 160699 w 197541"/>
                <a:gd name="connsiteY9" fmla="*/ 170370 h 245899"/>
                <a:gd name="connsiteX10" fmla="*/ 196169 w 197541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1" h="245899">
                  <a:moveTo>
                    <a:pt x="196169" y="208135"/>
                  </a:moveTo>
                  <a:cubicBezTo>
                    <a:pt x="172680" y="233926"/>
                    <a:pt x="145977" y="245900"/>
                    <a:pt x="112357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8" y="78737"/>
                    <a:pt x="54788" y="122942"/>
                  </a:cubicBezTo>
                  <a:cubicBezTo>
                    <a:pt x="54788" y="166694"/>
                    <a:pt x="78277" y="196161"/>
                    <a:pt x="112349" y="196161"/>
                  </a:cubicBezTo>
                  <a:cubicBezTo>
                    <a:pt x="130762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0" name="Freihandform: Form 261">
              <a:extLst>
                <a:ext uri="{FF2B5EF4-FFF2-40B4-BE49-F238E27FC236}">
                  <a16:creationId xmlns:a16="http://schemas.microsoft.com/office/drawing/2014/main" id="{690220AA-50CC-EE47-9E9C-AFBF9DBE8C87}"/>
                </a:ext>
              </a:extLst>
            </p:cNvPr>
            <p:cNvSpPr/>
            <p:nvPr/>
          </p:nvSpPr>
          <p:spPr>
            <a:xfrm>
              <a:off x="8161024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8 w 201695"/>
                <a:gd name="connsiteY1" fmla="*/ 342590 h 342598"/>
                <a:gd name="connsiteX2" fmla="*/ 146898 w 201695"/>
                <a:gd name="connsiteY2" fmla="*/ 208587 h 342598"/>
                <a:gd name="connsiteX3" fmla="*/ 103607 w 201695"/>
                <a:gd name="connsiteY3" fmla="*/ 151487 h 342598"/>
                <a:gd name="connsiteX4" fmla="*/ 54798 w 201695"/>
                <a:gd name="connsiteY4" fmla="*/ 208135 h 342598"/>
                <a:gd name="connsiteX5" fmla="*/ 54798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8 w 201695"/>
                <a:gd name="connsiteY8" fmla="*/ 0 h 342598"/>
                <a:gd name="connsiteX9" fmla="*/ 54798 w 201695"/>
                <a:gd name="connsiteY9" fmla="*/ 136298 h 342598"/>
                <a:gd name="connsiteX10" fmla="*/ 55719 w 201695"/>
                <a:gd name="connsiteY10" fmla="*/ 136298 h 342598"/>
                <a:gd name="connsiteX11" fmla="*/ 124332 w 201695"/>
                <a:gd name="connsiteY11" fmla="*/ 102225 h 342598"/>
                <a:gd name="connsiteX12" fmla="*/ 201688 w 201695"/>
                <a:gd name="connsiteY12" fmla="*/ 197082 h 342598"/>
                <a:gd name="connsiteX13" fmla="*/ 201688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306" y="151487"/>
                    <a:pt x="103607" y="151487"/>
                  </a:cubicBezTo>
                  <a:cubicBezTo>
                    <a:pt x="65850" y="151487"/>
                    <a:pt x="54798" y="181423"/>
                    <a:pt x="54798" y="208135"/>
                  </a:cubicBezTo>
                  <a:lnTo>
                    <a:pt x="54798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8" y="0"/>
                  </a:lnTo>
                  <a:lnTo>
                    <a:pt x="54798" y="136298"/>
                  </a:lnTo>
                  <a:lnTo>
                    <a:pt x="55719" y="136298"/>
                  </a:lnTo>
                  <a:cubicBezTo>
                    <a:pt x="69074" y="115573"/>
                    <a:pt x="93484" y="102225"/>
                    <a:pt x="124332" y="102225"/>
                  </a:cubicBezTo>
                  <a:cubicBezTo>
                    <a:pt x="178660" y="102225"/>
                    <a:pt x="201688" y="142745"/>
                    <a:pt x="201688" y="197082"/>
                  </a:cubicBezTo>
                  <a:lnTo>
                    <a:pt x="201688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1" name="Freihandform: Form 262">
              <a:extLst>
                <a:ext uri="{FF2B5EF4-FFF2-40B4-BE49-F238E27FC236}">
                  <a16:creationId xmlns:a16="http://schemas.microsoft.com/office/drawing/2014/main" id="{5B4587E6-C227-384B-BF2A-E223D42EECED}"/>
                </a:ext>
              </a:extLst>
            </p:cNvPr>
            <p:cNvSpPr/>
            <p:nvPr/>
          </p:nvSpPr>
          <p:spPr>
            <a:xfrm>
              <a:off x="8416729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40 w 198923"/>
                <a:gd name="connsiteY1" fmla="*/ 99922 h 245899"/>
                <a:gd name="connsiteX2" fmla="*/ 145040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6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495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26" y="94856"/>
                    <a:pt x="129851" y="95778"/>
                    <a:pt x="145040" y="99922"/>
                  </a:cubicBezTo>
                  <a:lnTo>
                    <a:pt x="145040" y="91633"/>
                  </a:lnTo>
                  <a:cubicBezTo>
                    <a:pt x="145040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2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28" y="204919"/>
                    <a:pt x="129851" y="195248"/>
                    <a:pt x="145048" y="176834"/>
                  </a:cubicBezTo>
                  <a:lnTo>
                    <a:pt x="145048" y="135845"/>
                  </a:lnTo>
                  <a:cubicBezTo>
                    <a:pt x="132152" y="132621"/>
                    <a:pt x="118797" y="131240"/>
                    <a:pt x="106831" y="131240"/>
                  </a:cubicBezTo>
                  <a:cubicBezTo>
                    <a:pt x="72298" y="131240"/>
                    <a:pt x="52495" y="145048"/>
                    <a:pt x="52495" y="169918"/>
                  </a:cubicBezTo>
                  <a:cubicBezTo>
                    <a:pt x="52486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Freihandform: Form 263">
              <a:extLst>
                <a:ext uri="{FF2B5EF4-FFF2-40B4-BE49-F238E27FC236}">
                  <a16:creationId xmlns:a16="http://schemas.microsoft.com/office/drawing/2014/main" id="{5A99EA64-59E1-5247-B600-CE9508363E75}"/>
                </a:ext>
              </a:extLst>
            </p:cNvPr>
            <p:cNvSpPr/>
            <p:nvPr/>
          </p:nvSpPr>
          <p:spPr>
            <a:xfrm>
              <a:off x="8659530" y="2440295"/>
              <a:ext cx="143667" cy="345830"/>
            </a:xfrm>
            <a:custGeom>
              <a:avLst/>
              <a:gdLst>
                <a:gd name="connsiteX0" fmla="*/ 143667 w 143667"/>
                <a:gd name="connsiteY0" fmla="*/ 51582 h 345830"/>
                <a:gd name="connsiteX1" fmla="*/ 119727 w 143667"/>
                <a:gd name="connsiteY1" fmla="*/ 46976 h 345830"/>
                <a:gd name="connsiteX2" fmla="*/ 90712 w 143667"/>
                <a:gd name="connsiteY2" fmla="*/ 79667 h 345830"/>
                <a:gd name="connsiteX3" fmla="*/ 90712 w 143667"/>
                <a:gd name="connsiteY3" fmla="*/ 111445 h 345830"/>
                <a:gd name="connsiteX4" fmla="*/ 137228 w 143667"/>
                <a:gd name="connsiteY4" fmla="*/ 111445 h 345830"/>
                <a:gd name="connsiteX5" fmla="*/ 137228 w 143667"/>
                <a:gd name="connsiteY5" fmla="*/ 157031 h 345830"/>
                <a:gd name="connsiteX6" fmla="*/ 91173 w 143667"/>
                <a:gd name="connsiteY6" fmla="*/ 157031 h 345830"/>
                <a:gd name="connsiteX7" fmla="*/ 91173 w 143667"/>
                <a:gd name="connsiteY7" fmla="*/ 345831 h 345830"/>
                <a:gd name="connsiteX8" fmla="*/ 36375 w 143667"/>
                <a:gd name="connsiteY8" fmla="*/ 345831 h 345830"/>
                <a:gd name="connsiteX9" fmla="*/ 36375 w 143667"/>
                <a:gd name="connsiteY9" fmla="*/ 157031 h 345830"/>
                <a:gd name="connsiteX10" fmla="*/ 0 w 143667"/>
                <a:gd name="connsiteY10" fmla="*/ 157031 h 345830"/>
                <a:gd name="connsiteX11" fmla="*/ 0 w 143667"/>
                <a:gd name="connsiteY11" fmla="*/ 111445 h 345830"/>
                <a:gd name="connsiteX12" fmla="*/ 36375 w 143667"/>
                <a:gd name="connsiteY12" fmla="*/ 111445 h 345830"/>
                <a:gd name="connsiteX13" fmla="*/ 36375 w 143667"/>
                <a:gd name="connsiteY13" fmla="*/ 77824 h 345830"/>
                <a:gd name="connsiteX14" fmla="*/ 110976 w 143667"/>
                <a:gd name="connsiteY14" fmla="*/ 0 h 345830"/>
                <a:gd name="connsiteX15" fmla="*/ 143667 w 143667"/>
                <a:gd name="connsiteY15" fmla="*/ 5066 h 345830"/>
                <a:gd name="connsiteX16" fmla="*/ 143667 w 143667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67" h="345830">
                  <a:moveTo>
                    <a:pt x="143667" y="51582"/>
                  </a:moveTo>
                  <a:cubicBezTo>
                    <a:pt x="136298" y="48358"/>
                    <a:pt x="127548" y="46976"/>
                    <a:pt x="119727" y="46976"/>
                  </a:cubicBezTo>
                  <a:cubicBezTo>
                    <a:pt x="99001" y="46976"/>
                    <a:pt x="90712" y="57569"/>
                    <a:pt x="90712" y="79667"/>
                  </a:cubicBezTo>
                  <a:lnTo>
                    <a:pt x="90712" y="111445"/>
                  </a:lnTo>
                  <a:lnTo>
                    <a:pt x="137228" y="111445"/>
                  </a:lnTo>
                  <a:lnTo>
                    <a:pt x="137228" y="157031"/>
                  </a:lnTo>
                  <a:lnTo>
                    <a:pt x="91173" y="157031"/>
                  </a:lnTo>
                  <a:lnTo>
                    <a:pt x="91173" y="345831"/>
                  </a:lnTo>
                  <a:lnTo>
                    <a:pt x="36375" y="345831"/>
                  </a:lnTo>
                  <a:lnTo>
                    <a:pt x="36375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75" y="111445"/>
                  </a:lnTo>
                  <a:lnTo>
                    <a:pt x="36375" y="77824"/>
                  </a:lnTo>
                  <a:cubicBezTo>
                    <a:pt x="36375" y="29015"/>
                    <a:pt x="58481" y="0"/>
                    <a:pt x="110976" y="0"/>
                  </a:cubicBezTo>
                  <a:cubicBezTo>
                    <a:pt x="122951" y="0"/>
                    <a:pt x="134465" y="1382"/>
                    <a:pt x="143667" y="5066"/>
                  </a:cubicBezTo>
                  <a:lnTo>
                    <a:pt x="143667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Freihandform: Form 264">
              <a:extLst>
                <a:ext uri="{FF2B5EF4-FFF2-40B4-BE49-F238E27FC236}">
                  <a16:creationId xmlns:a16="http://schemas.microsoft.com/office/drawing/2014/main" id="{8C9FD534-6D70-E348-8C70-36FB5785AEF5}"/>
                </a:ext>
              </a:extLst>
            </p:cNvPr>
            <p:cNvSpPr/>
            <p:nvPr/>
          </p:nvSpPr>
          <p:spPr>
            <a:xfrm>
              <a:off x="8832370" y="2475749"/>
              <a:ext cx="145978" cy="315903"/>
            </a:xfrm>
            <a:custGeom>
              <a:avLst/>
              <a:gdLst>
                <a:gd name="connsiteX0" fmla="*/ 145978 w 145978"/>
                <a:gd name="connsiteY0" fmla="*/ 260185 h 315903"/>
                <a:gd name="connsiteX1" fmla="*/ 145978 w 145978"/>
                <a:gd name="connsiteY1" fmla="*/ 307153 h 315903"/>
                <a:gd name="connsiteX2" fmla="*/ 99923 w 145978"/>
                <a:gd name="connsiteY2" fmla="*/ 315903 h 315903"/>
                <a:gd name="connsiteX3" fmla="*/ 35915 w 145978"/>
                <a:gd name="connsiteY3" fmla="*/ 250053 h 315903"/>
                <a:gd name="connsiteX4" fmla="*/ 35915 w 145978"/>
                <a:gd name="connsiteY4" fmla="*/ 121577 h 315903"/>
                <a:gd name="connsiteX5" fmla="*/ 0 w 145978"/>
                <a:gd name="connsiteY5" fmla="*/ 121577 h 315903"/>
                <a:gd name="connsiteX6" fmla="*/ 0 w 145978"/>
                <a:gd name="connsiteY6" fmla="*/ 75991 h 315903"/>
                <a:gd name="connsiteX7" fmla="*/ 35454 w 145978"/>
                <a:gd name="connsiteY7" fmla="*/ 75991 h 315903"/>
                <a:gd name="connsiteX8" fmla="*/ 35454 w 145978"/>
                <a:gd name="connsiteY8" fmla="*/ 11983 h 315903"/>
                <a:gd name="connsiteX9" fmla="*/ 90252 w 145978"/>
                <a:gd name="connsiteY9" fmla="*/ 0 h 315903"/>
                <a:gd name="connsiteX10" fmla="*/ 90252 w 145978"/>
                <a:gd name="connsiteY10" fmla="*/ 75982 h 315903"/>
                <a:gd name="connsiteX11" fmla="*/ 145969 w 145978"/>
                <a:gd name="connsiteY11" fmla="*/ 75982 h 315903"/>
                <a:gd name="connsiteX12" fmla="*/ 145969 w 145978"/>
                <a:gd name="connsiteY12" fmla="*/ 121568 h 315903"/>
                <a:gd name="connsiteX13" fmla="*/ 90252 w 145978"/>
                <a:gd name="connsiteY13" fmla="*/ 121568 h 315903"/>
                <a:gd name="connsiteX14" fmla="*/ 90252 w 145978"/>
                <a:gd name="connsiteY14" fmla="*/ 237149 h 315903"/>
                <a:gd name="connsiteX15" fmla="*/ 115573 w 145978"/>
                <a:gd name="connsiteY15" fmla="*/ 268006 h 315903"/>
                <a:gd name="connsiteX16" fmla="*/ 145978 w 145978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8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4" y="312680"/>
                    <a:pt x="116042" y="315903"/>
                    <a:pt x="99923" y="315903"/>
                  </a:cubicBezTo>
                  <a:cubicBezTo>
                    <a:pt x="58481" y="315903"/>
                    <a:pt x="35915" y="292876"/>
                    <a:pt x="35915" y="250053"/>
                  </a:cubicBezTo>
                  <a:lnTo>
                    <a:pt x="35915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2" y="0"/>
                  </a:lnTo>
                  <a:lnTo>
                    <a:pt x="90252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2" y="121568"/>
                  </a:lnTo>
                  <a:lnTo>
                    <a:pt x="90252" y="237149"/>
                  </a:lnTo>
                  <a:cubicBezTo>
                    <a:pt x="90252" y="258795"/>
                    <a:pt x="97620" y="268006"/>
                    <a:pt x="115573" y="268006"/>
                  </a:cubicBezTo>
                  <a:cubicBezTo>
                    <a:pt x="125714" y="268015"/>
                    <a:pt x="136758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Freihandform: Form 265">
              <a:extLst>
                <a:ext uri="{FF2B5EF4-FFF2-40B4-BE49-F238E27FC236}">
                  <a16:creationId xmlns:a16="http://schemas.microsoft.com/office/drawing/2014/main" id="{CDEE3AA0-0CEC-CA45-A9E9-89B2B40BF9CE}"/>
                </a:ext>
              </a:extLst>
            </p:cNvPr>
            <p:cNvSpPr/>
            <p:nvPr/>
          </p:nvSpPr>
          <p:spPr>
            <a:xfrm>
              <a:off x="9017185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Freihandform: Form 266">
              <a:extLst>
                <a:ext uri="{FF2B5EF4-FFF2-40B4-BE49-F238E27FC236}">
                  <a16:creationId xmlns:a16="http://schemas.microsoft.com/office/drawing/2014/main" id="{9486445D-CB4F-7E4F-A962-6079F23EA814}"/>
                </a:ext>
              </a:extLst>
            </p:cNvPr>
            <p:cNvSpPr/>
            <p:nvPr/>
          </p:nvSpPr>
          <p:spPr>
            <a:xfrm>
              <a:off x="9240728" y="2616208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Freihandform: Form 267">
              <a:extLst>
                <a:ext uri="{FF2B5EF4-FFF2-40B4-BE49-F238E27FC236}">
                  <a16:creationId xmlns:a16="http://schemas.microsoft.com/office/drawing/2014/main" id="{48012C14-3FD3-CF46-9A18-464E4A945BC2}"/>
                </a:ext>
              </a:extLst>
            </p:cNvPr>
            <p:cNvSpPr/>
            <p:nvPr/>
          </p:nvSpPr>
          <p:spPr>
            <a:xfrm>
              <a:off x="9550208" y="2551739"/>
              <a:ext cx="201686" cy="239921"/>
            </a:xfrm>
            <a:custGeom>
              <a:avLst/>
              <a:gdLst>
                <a:gd name="connsiteX0" fmla="*/ 54797 w 201686"/>
                <a:gd name="connsiteY0" fmla="*/ 140911 h 239921"/>
                <a:gd name="connsiteX1" fmla="*/ 101304 w 201686"/>
                <a:gd name="connsiteY1" fmla="*/ 190182 h 239921"/>
                <a:gd name="connsiteX2" fmla="*/ 146890 w 201686"/>
                <a:gd name="connsiteY2" fmla="*/ 140451 h 239921"/>
                <a:gd name="connsiteX3" fmla="*/ 146890 w 201686"/>
                <a:gd name="connsiteY3" fmla="*/ 8 h 239921"/>
                <a:gd name="connsiteX4" fmla="*/ 201687 w 201686"/>
                <a:gd name="connsiteY4" fmla="*/ 8 h 239921"/>
                <a:gd name="connsiteX5" fmla="*/ 201687 w 201686"/>
                <a:gd name="connsiteY5" fmla="*/ 142301 h 239921"/>
                <a:gd name="connsiteX6" fmla="*/ 102685 w 201686"/>
                <a:gd name="connsiteY6" fmla="*/ 239921 h 239921"/>
                <a:gd name="connsiteX7" fmla="*/ 0 w 201686"/>
                <a:gd name="connsiteY7" fmla="*/ 142754 h 239921"/>
                <a:gd name="connsiteX8" fmla="*/ 0 w 201686"/>
                <a:gd name="connsiteY8" fmla="*/ 0 h 239921"/>
                <a:gd name="connsiteX9" fmla="*/ 54797 w 201686"/>
                <a:gd name="connsiteY9" fmla="*/ 0 h 239921"/>
                <a:gd name="connsiteX10" fmla="*/ 54797 w 201686"/>
                <a:gd name="connsiteY10" fmla="*/ 140911 h 23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86" h="239921">
                  <a:moveTo>
                    <a:pt x="54797" y="140911"/>
                  </a:moveTo>
                  <a:cubicBezTo>
                    <a:pt x="54797" y="173141"/>
                    <a:pt x="70916" y="190182"/>
                    <a:pt x="101304" y="190182"/>
                  </a:cubicBezTo>
                  <a:cubicBezTo>
                    <a:pt x="131240" y="190182"/>
                    <a:pt x="146890" y="173610"/>
                    <a:pt x="146890" y="140451"/>
                  </a:cubicBezTo>
                  <a:lnTo>
                    <a:pt x="146890" y="8"/>
                  </a:lnTo>
                  <a:lnTo>
                    <a:pt x="201687" y="8"/>
                  </a:lnTo>
                  <a:lnTo>
                    <a:pt x="201687" y="142301"/>
                  </a:lnTo>
                  <a:cubicBezTo>
                    <a:pt x="201687" y="203998"/>
                    <a:pt x="167155" y="239921"/>
                    <a:pt x="102685" y="239921"/>
                  </a:cubicBezTo>
                  <a:cubicBezTo>
                    <a:pt x="38678" y="239921"/>
                    <a:pt x="0" y="203998"/>
                    <a:pt x="0" y="142754"/>
                  </a:cubicBezTo>
                  <a:lnTo>
                    <a:pt x="0" y="0"/>
                  </a:lnTo>
                  <a:lnTo>
                    <a:pt x="54797" y="0"/>
                  </a:lnTo>
                  <a:lnTo>
                    <a:pt x="54797" y="14091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Freihandform: Form 268">
              <a:extLst>
                <a:ext uri="{FF2B5EF4-FFF2-40B4-BE49-F238E27FC236}">
                  <a16:creationId xmlns:a16="http://schemas.microsoft.com/office/drawing/2014/main" id="{AD0CF84B-D854-8F4C-B70C-355E3D946FA5}"/>
                </a:ext>
              </a:extLst>
            </p:cNvPr>
            <p:cNvSpPr/>
            <p:nvPr/>
          </p:nvSpPr>
          <p:spPr>
            <a:xfrm>
              <a:off x="9821371" y="2545760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89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Freihandform: Form 269">
              <a:extLst>
                <a:ext uri="{FF2B5EF4-FFF2-40B4-BE49-F238E27FC236}">
                  <a16:creationId xmlns:a16="http://schemas.microsoft.com/office/drawing/2014/main" id="{49802A93-BF86-5C42-9F59-2710320205CA}"/>
                </a:ext>
              </a:extLst>
            </p:cNvPr>
            <p:cNvSpPr/>
            <p:nvPr/>
          </p:nvSpPr>
          <p:spPr>
            <a:xfrm>
              <a:off x="10081021" y="2443527"/>
              <a:ext cx="219196" cy="348125"/>
            </a:xfrm>
            <a:custGeom>
              <a:avLst/>
              <a:gdLst>
                <a:gd name="connsiteX0" fmla="*/ 0 w 219196"/>
                <a:gd name="connsiteY0" fmla="*/ 224715 h 348125"/>
                <a:gd name="connsiteX1" fmla="*/ 95326 w 219196"/>
                <a:gd name="connsiteY1" fmla="*/ 102225 h 348125"/>
                <a:gd name="connsiteX2" fmla="*/ 163478 w 219196"/>
                <a:gd name="connsiteY2" fmla="*/ 133995 h 348125"/>
                <a:gd name="connsiteX3" fmla="*/ 164399 w 219196"/>
                <a:gd name="connsiteY3" fmla="*/ 133995 h 348125"/>
                <a:gd name="connsiteX4" fmla="*/ 164399 w 219196"/>
                <a:gd name="connsiteY4" fmla="*/ 13808 h 348125"/>
                <a:gd name="connsiteX5" fmla="*/ 219196 w 219196"/>
                <a:gd name="connsiteY5" fmla="*/ 0 h 348125"/>
                <a:gd name="connsiteX6" fmla="*/ 219196 w 219196"/>
                <a:gd name="connsiteY6" fmla="*/ 342598 h 348125"/>
                <a:gd name="connsiteX7" fmla="*/ 165781 w 219196"/>
                <a:gd name="connsiteY7" fmla="*/ 342598 h 348125"/>
                <a:gd name="connsiteX8" fmla="*/ 165781 w 219196"/>
                <a:gd name="connsiteY8" fmla="*/ 314965 h 348125"/>
                <a:gd name="connsiteX9" fmla="*/ 164860 w 219196"/>
                <a:gd name="connsiteY9" fmla="*/ 314965 h 348125"/>
                <a:gd name="connsiteX10" fmla="*/ 94405 w 219196"/>
                <a:gd name="connsiteY10" fmla="*/ 348125 h 348125"/>
                <a:gd name="connsiteX11" fmla="*/ 0 w 219196"/>
                <a:gd name="connsiteY11" fmla="*/ 224715 h 348125"/>
                <a:gd name="connsiteX12" fmla="*/ 54345 w 219196"/>
                <a:gd name="connsiteY12" fmla="*/ 224715 h 348125"/>
                <a:gd name="connsiteX13" fmla="*/ 108681 w 219196"/>
                <a:gd name="connsiteY13" fmla="*/ 299776 h 348125"/>
                <a:gd name="connsiteX14" fmla="*/ 164399 w 219196"/>
                <a:gd name="connsiteY14" fmla="*/ 268919 h 348125"/>
                <a:gd name="connsiteX15" fmla="*/ 164399 w 219196"/>
                <a:gd name="connsiteY15" fmla="*/ 183265 h 348125"/>
                <a:gd name="connsiteX16" fmla="*/ 108681 w 219196"/>
                <a:gd name="connsiteY16" fmla="*/ 151956 h 348125"/>
                <a:gd name="connsiteX17" fmla="*/ 54345 w 219196"/>
                <a:gd name="connsiteY17" fmla="*/ 224715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6" h="348125">
                  <a:moveTo>
                    <a:pt x="0" y="224715"/>
                  </a:moveTo>
                  <a:cubicBezTo>
                    <a:pt x="0" y="149193"/>
                    <a:pt x="38217" y="102225"/>
                    <a:pt x="95326" y="102225"/>
                  </a:cubicBezTo>
                  <a:cubicBezTo>
                    <a:pt x="124801" y="102225"/>
                    <a:pt x="147828" y="114652"/>
                    <a:pt x="163478" y="133995"/>
                  </a:cubicBezTo>
                  <a:lnTo>
                    <a:pt x="164399" y="133995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8"/>
                  </a:lnTo>
                  <a:lnTo>
                    <a:pt x="165781" y="342598"/>
                  </a:lnTo>
                  <a:lnTo>
                    <a:pt x="165781" y="314965"/>
                  </a:lnTo>
                  <a:lnTo>
                    <a:pt x="164860" y="314965"/>
                  </a:lnTo>
                  <a:cubicBezTo>
                    <a:pt x="147828" y="335690"/>
                    <a:pt x="123419" y="348125"/>
                    <a:pt x="94405" y="348125"/>
                  </a:cubicBezTo>
                  <a:cubicBezTo>
                    <a:pt x="38686" y="348125"/>
                    <a:pt x="0" y="300697"/>
                    <a:pt x="0" y="224715"/>
                  </a:cubicBezTo>
                  <a:close/>
                  <a:moveTo>
                    <a:pt x="54345" y="224715"/>
                  </a:moveTo>
                  <a:cubicBezTo>
                    <a:pt x="54345" y="272603"/>
                    <a:pt x="74148" y="299776"/>
                    <a:pt x="108681" y="299776"/>
                  </a:cubicBezTo>
                  <a:cubicBezTo>
                    <a:pt x="129867" y="299776"/>
                    <a:pt x="147359" y="289644"/>
                    <a:pt x="164399" y="268919"/>
                  </a:cubicBezTo>
                  <a:lnTo>
                    <a:pt x="164399" y="183265"/>
                  </a:lnTo>
                  <a:cubicBezTo>
                    <a:pt x="148740" y="162088"/>
                    <a:pt x="130780" y="151956"/>
                    <a:pt x="108681" y="151956"/>
                  </a:cubicBezTo>
                  <a:cubicBezTo>
                    <a:pt x="73227" y="151965"/>
                    <a:pt x="54345" y="177747"/>
                    <a:pt x="54345" y="22471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9" name="Freihandform: Form 270">
              <a:extLst>
                <a:ext uri="{FF2B5EF4-FFF2-40B4-BE49-F238E27FC236}">
                  <a16:creationId xmlns:a16="http://schemas.microsoft.com/office/drawing/2014/main" id="{DC35609B-D174-134D-A90E-1D9891BE5E50}"/>
                </a:ext>
              </a:extLst>
            </p:cNvPr>
            <p:cNvSpPr/>
            <p:nvPr/>
          </p:nvSpPr>
          <p:spPr>
            <a:xfrm>
              <a:off x="4011188" y="2963018"/>
              <a:ext cx="227478" cy="335246"/>
            </a:xfrm>
            <a:custGeom>
              <a:avLst/>
              <a:gdLst>
                <a:gd name="connsiteX0" fmla="*/ 36383 w 227478"/>
                <a:gd name="connsiteY0" fmla="*/ 245900 h 335246"/>
                <a:gd name="connsiteX1" fmla="*/ 116963 w 227478"/>
                <a:gd name="connsiteY1" fmla="*/ 282283 h 335246"/>
                <a:gd name="connsiteX2" fmla="*/ 169465 w 227478"/>
                <a:gd name="connsiteY2" fmla="*/ 241755 h 335246"/>
                <a:gd name="connsiteX3" fmla="*/ 10593 w 227478"/>
                <a:gd name="connsiteY3" fmla="*/ 93944 h 335246"/>
                <a:gd name="connsiteX4" fmla="*/ 120656 w 227478"/>
                <a:gd name="connsiteY4" fmla="*/ 0 h 335246"/>
                <a:gd name="connsiteX5" fmla="*/ 225183 w 227478"/>
                <a:gd name="connsiteY5" fmla="*/ 39147 h 335246"/>
                <a:gd name="connsiteX6" fmla="*/ 188800 w 227478"/>
                <a:gd name="connsiteY6" fmla="*/ 83812 h 335246"/>
                <a:gd name="connsiteX7" fmla="*/ 117884 w 227478"/>
                <a:gd name="connsiteY7" fmla="*/ 52503 h 335246"/>
                <a:gd name="connsiteX8" fmla="*/ 68613 w 227478"/>
                <a:gd name="connsiteY8" fmla="*/ 88886 h 335246"/>
                <a:gd name="connsiteX9" fmla="*/ 227478 w 227478"/>
                <a:gd name="connsiteY9" fmla="*/ 237158 h 335246"/>
                <a:gd name="connsiteX10" fmla="*/ 115590 w 227478"/>
                <a:gd name="connsiteY10" fmla="*/ 335246 h 335246"/>
                <a:gd name="connsiteX11" fmla="*/ 0 w 227478"/>
                <a:gd name="connsiteY11" fmla="*/ 290573 h 335246"/>
                <a:gd name="connsiteX12" fmla="*/ 36383 w 227478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78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63" y="282283"/>
                  </a:cubicBezTo>
                  <a:cubicBezTo>
                    <a:pt x="147359" y="282283"/>
                    <a:pt x="169465" y="265243"/>
                    <a:pt x="169465" y="241755"/>
                  </a:cubicBezTo>
                  <a:cubicBezTo>
                    <a:pt x="169465" y="179589"/>
                    <a:pt x="10593" y="198932"/>
                    <a:pt x="10593" y="93944"/>
                  </a:cubicBezTo>
                  <a:cubicBezTo>
                    <a:pt x="10593" y="38226"/>
                    <a:pt x="55726" y="0"/>
                    <a:pt x="120656" y="0"/>
                  </a:cubicBezTo>
                  <a:cubicBezTo>
                    <a:pt x="159333" y="0"/>
                    <a:pt x="195256" y="13356"/>
                    <a:pt x="225183" y="39147"/>
                  </a:cubicBezTo>
                  <a:lnTo>
                    <a:pt x="188800" y="83812"/>
                  </a:lnTo>
                  <a:cubicBezTo>
                    <a:pt x="165312" y="63087"/>
                    <a:pt x="141832" y="52503"/>
                    <a:pt x="117884" y="52503"/>
                  </a:cubicBezTo>
                  <a:cubicBezTo>
                    <a:pt x="89338" y="52503"/>
                    <a:pt x="68613" y="67692"/>
                    <a:pt x="68613" y="88886"/>
                  </a:cubicBezTo>
                  <a:cubicBezTo>
                    <a:pt x="68613" y="147359"/>
                    <a:pt x="227478" y="128024"/>
                    <a:pt x="227478" y="237158"/>
                  </a:cubicBezTo>
                  <a:cubicBezTo>
                    <a:pt x="227478" y="295639"/>
                    <a:pt x="182352" y="335246"/>
                    <a:pt x="115590" y="335246"/>
                  </a:cubicBezTo>
                  <a:cubicBezTo>
                    <a:pt x="72758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0" name="Freihandform: Form 271">
              <a:extLst>
                <a:ext uri="{FF2B5EF4-FFF2-40B4-BE49-F238E27FC236}">
                  <a16:creationId xmlns:a16="http://schemas.microsoft.com/office/drawing/2014/main" id="{C7CD2D4A-4FF6-4F40-B6C4-48C6C6DFC62E}"/>
                </a:ext>
              </a:extLst>
            </p:cNvPr>
            <p:cNvSpPr/>
            <p:nvPr/>
          </p:nvSpPr>
          <p:spPr>
            <a:xfrm>
              <a:off x="4287334" y="3052356"/>
              <a:ext cx="225644" cy="245908"/>
            </a:xfrm>
            <a:custGeom>
              <a:avLst/>
              <a:gdLst>
                <a:gd name="connsiteX0" fmla="*/ 0 w 225644"/>
                <a:gd name="connsiteY0" fmla="*/ 122950 h 245908"/>
                <a:gd name="connsiteX1" fmla="*/ 113748 w 225644"/>
                <a:gd name="connsiteY1" fmla="*/ 0 h 245908"/>
                <a:gd name="connsiteX2" fmla="*/ 225644 w 225644"/>
                <a:gd name="connsiteY2" fmla="*/ 122950 h 245908"/>
                <a:gd name="connsiteX3" fmla="*/ 113748 w 225644"/>
                <a:gd name="connsiteY3" fmla="*/ 245908 h 245908"/>
                <a:gd name="connsiteX4" fmla="*/ 0 w 225644"/>
                <a:gd name="connsiteY4" fmla="*/ 122950 h 245908"/>
                <a:gd name="connsiteX5" fmla="*/ 171308 w 225644"/>
                <a:gd name="connsiteY5" fmla="*/ 123410 h 245908"/>
                <a:gd name="connsiteX6" fmla="*/ 112826 w 225644"/>
                <a:gd name="connsiteY6" fmla="*/ 49731 h 245908"/>
                <a:gd name="connsiteX7" fmla="*/ 54345 w 225644"/>
                <a:gd name="connsiteY7" fmla="*/ 122481 h 245908"/>
                <a:gd name="connsiteX8" fmla="*/ 113287 w 225644"/>
                <a:gd name="connsiteY8" fmla="*/ 196621 h 245908"/>
                <a:gd name="connsiteX9" fmla="*/ 171308 w 225644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44" h="245908">
                  <a:moveTo>
                    <a:pt x="0" y="122950"/>
                  </a:moveTo>
                  <a:cubicBezTo>
                    <a:pt x="0" y="49270"/>
                    <a:pt x="45586" y="0"/>
                    <a:pt x="113748" y="0"/>
                  </a:cubicBezTo>
                  <a:cubicBezTo>
                    <a:pt x="181440" y="0"/>
                    <a:pt x="225644" y="48349"/>
                    <a:pt x="225644" y="122950"/>
                  </a:cubicBezTo>
                  <a:cubicBezTo>
                    <a:pt x="225644" y="196629"/>
                    <a:pt x="181892" y="245908"/>
                    <a:pt x="113748" y="245908"/>
                  </a:cubicBezTo>
                  <a:cubicBezTo>
                    <a:pt x="46055" y="245900"/>
                    <a:pt x="0" y="197090"/>
                    <a:pt x="0" y="122950"/>
                  </a:cubicBezTo>
                  <a:close/>
                  <a:moveTo>
                    <a:pt x="171308" y="123410"/>
                  </a:moveTo>
                  <a:cubicBezTo>
                    <a:pt x="171308" y="77824"/>
                    <a:pt x="148741" y="49731"/>
                    <a:pt x="112826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12" y="196621"/>
                    <a:pt x="113287" y="196621"/>
                  </a:cubicBezTo>
                  <a:cubicBezTo>
                    <a:pt x="149202" y="196629"/>
                    <a:pt x="171308" y="168536"/>
                    <a:pt x="171308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272">
              <a:extLst>
                <a:ext uri="{FF2B5EF4-FFF2-40B4-BE49-F238E27FC236}">
                  <a16:creationId xmlns:a16="http://schemas.microsoft.com/office/drawing/2014/main" id="{B7C75228-DB37-634E-8CAE-77AB84941F41}"/>
                </a:ext>
              </a:extLst>
            </p:cNvPr>
            <p:cNvSpPr/>
            <p:nvPr/>
          </p:nvSpPr>
          <p:spPr>
            <a:xfrm>
              <a:off x="4551790" y="3058352"/>
              <a:ext cx="185115" cy="234377"/>
            </a:xfrm>
            <a:custGeom>
              <a:avLst/>
              <a:gdLst>
                <a:gd name="connsiteX0" fmla="*/ 185108 w 185115"/>
                <a:gd name="connsiteY0" fmla="*/ 234378 h 234377"/>
                <a:gd name="connsiteX1" fmla="*/ 0 w 185115"/>
                <a:gd name="connsiteY1" fmla="*/ 234378 h 234377"/>
                <a:gd name="connsiteX2" fmla="*/ 0 w 185115"/>
                <a:gd name="connsiteY2" fmla="*/ 187410 h 234377"/>
                <a:gd name="connsiteX3" fmla="*/ 116963 w 185115"/>
                <a:gd name="connsiteY3" fmla="*/ 46968 h 234377"/>
                <a:gd name="connsiteX4" fmla="*/ 6900 w 185115"/>
                <a:gd name="connsiteY4" fmla="*/ 46968 h 234377"/>
                <a:gd name="connsiteX5" fmla="*/ 6900 w 185115"/>
                <a:gd name="connsiteY5" fmla="*/ 0 h 234377"/>
                <a:gd name="connsiteX6" fmla="*/ 183274 w 185115"/>
                <a:gd name="connsiteY6" fmla="*/ 0 h 234377"/>
                <a:gd name="connsiteX7" fmla="*/ 183274 w 185115"/>
                <a:gd name="connsiteY7" fmla="*/ 46968 h 234377"/>
                <a:gd name="connsiteX8" fmla="*/ 65850 w 185115"/>
                <a:gd name="connsiteY8" fmla="*/ 187410 h 234377"/>
                <a:gd name="connsiteX9" fmla="*/ 185116 w 185115"/>
                <a:gd name="connsiteY9" fmla="*/ 187410 h 234377"/>
                <a:gd name="connsiteX10" fmla="*/ 185116 w 185115"/>
                <a:gd name="connsiteY10" fmla="*/ 234378 h 2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15" h="234377">
                  <a:moveTo>
                    <a:pt x="185108" y="234378"/>
                  </a:moveTo>
                  <a:lnTo>
                    <a:pt x="0" y="234378"/>
                  </a:lnTo>
                  <a:lnTo>
                    <a:pt x="0" y="187410"/>
                  </a:lnTo>
                  <a:lnTo>
                    <a:pt x="116963" y="46968"/>
                  </a:lnTo>
                  <a:lnTo>
                    <a:pt x="6900" y="46968"/>
                  </a:lnTo>
                  <a:lnTo>
                    <a:pt x="6900" y="0"/>
                  </a:lnTo>
                  <a:lnTo>
                    <a:pt x="183274" y="0"/>
                  </a:lnTo>
                  <a:lnTo>
                    <a:pt x="183274" y="46968"/>
                  </a:lnTo>
                  <a:lnTo>
                    <a:pt x="65850" y="187410"/>
                  </a:lnTo>
                  <a:lnTo>
                    <a:pt x="185116" y="187410"/>
                  </a:lnTo>
                  <a:lnTo>
                    <a:pt x="185116" y="23437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2" name="Freihandform: Form 273">
              <a:extLst>
                <a:ext uri="{FF2B5EF4-FFF2-40B4-BE49-F238E27FC236}">
                  <a16:creationId xmlns:a16="http://schemas.microsoft.com/office/drawing/2014/main" id="{B3C430C1-7DCE-DA47-A008-CEBB09E9277E}"/>
                </a:ext>
              </a:extLst>
            </p:cNvPr>
            <p:cNvSpPr/>
            <p:nvPr/>
          </p:nvSpPr>
          <p:spPr>
            <a:xfrm>
              <a:off x="478624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84" y="66311"/>
                    <a:pt x="34533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33" y="0"/>
                  </a:cubicBezTo>
                  <a:cubicBezTo>
                    <a:pt x="53884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Freihandform: Form 274">
              <a:extLst>
                <a:ext uri="{FF2B5EF4-FFF2-40B4-BE49-F238E27FC236}">
                  <a16:creationId xmlns:a16="http://schemas.microsoft.com/office/drawing/2014/main" id="{8708F23F-8DA1-154F-A726-6F359BA14034}"/>
                </a:ext>
              </a:extLst>
            </p:cNvPr>
            <p:cNvSpPr/>
            <p:nvPr/>
          </p:nvSpPr>
          <p:spPr>
            <a:xfrm>
              <a:off x="4904378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503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6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36" y="204919"/>
                    <a:pt x="129850" y="195248"/>
                    <a:pt x="145048" y="176834"/>
                  </a:cubicBezTo>
                  <a:lnTo>
                    <a:pt x="145048" y="135845"/>
                  </a:lnTo>
                  <a:cubicBezTo>
                    <a:pt x="132161" y="132621"/>
                    <a:pt x="118805" y="131240"/>
                    <a:pt x="106831" y="131240"/>
                  </a:cubicBezTo>
                  <a:cubicBezTo>
                    <a:pt x="72298" y="131240"/>
                    <a:pt x="52503" y="145048"/>
                    <a:pt x="52503" y="169918"/>
                  </a:cubicBezTo>
                  <a:cubicBezTo>
                    <a:pt x="52494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275">
              <a:extLst>
                <a:ext uri="{FF2B5EF4-FFF2-40B4-BE49-F238E27FC236}">
                  <a16:creationId xmlns:a16="http://schemas.microsoft.com/office/drawing/2014/main" id="{C5C08DA7-5326-3B43-895E-8C683131D085}"/>
                </a:ext>
              </a:extLst>
            </p:cNvPr>
            <p:cNvSpPr/>
            <p:nvPr/>
          </p:nvSpPr>
          <p:spPr>
            <a:xfrm>
              <a:off x="5173423" y="2950592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276">
              <a:extLst>
                <a:ext uri="{FF2B5EF4-FFF2-40B4-BE49-F238E27FC236}">
                  <a16:creationId xmlns:a16="http://schemas.microsoft.com/office/drawing/2014/main" id="{3824DF34-4651-BF4A-9169-03B5B577FF36}"/>
                </a:ext>
              </a:extLst>
            </p:cNvPr>
            <p:cNvSpPr/>
            <p:nvPr/>
          </p:nvSpPr>
          <p:spPr>
            <a:xfrm>
              <a:off x="5275974" y="3058344"/>
              <a:ext cx="330180" cy="234386"/>
            </a:xfrm>
            <a:custGeom>
              <a:avLst/>
              <a:gdLst>
                <a:gd name="connsiteX0" fmla="*/ 330180 w 330180"/>
                <a:gd name="connsiteY0" fmla="*/ 0 h 234386"/>
                <a:gd name="connsiteX1" fmla="*/ 260646 w 330180"/>
                <a:gd name="connsiteY1" fmla="*/ 234386 h 234386"/>
                <a:gd name="connsiteX2" fmla="*/ 208143 w 330180"/>
                <a:gd name="connsiteY2" fmla="*/ 234386 h 234386"/>
                <a:gd name="connsiteX3" fmla="*/ 165320 w 330180"/>
                <a:gd name="connsiteY3" fmla="*/ 72298 h 234386"/>
                <a:gd name="connsiteX4" fmla="*/ 164408 w 330180"/>
                <a:gd name="connsiteY4" fmla="*/ 72298 h 234386"/>
                <a:gd name="connsiteX5" fmla="*/ 122037 w 330180"/>
                <a:gd name="connsiteY5" fmla="*/ 234386 h 234386"/>
                <a:gd name="connsiteX6" fmla="*/ 69535 w 330180"/>
                <a:gd name="connsiteY6" fmla="*/ 234386 h 234386"/>
                <a:gd name="connsiteX7" fmla="*/ 0 w 330180"/>
                <a:gd name="connsiteY7" fmla="*/ 0 h 234386"/>
                <a:gd name="connsiteX8" fmla="*/ 57560 w 330180"/>
                <a:gd name="connsiteY8" fmla="*/ 0 h 234386"/>
                <a:gd name="connsiteX9" fmla="*/ 98089 w 330180"/>
                <a:gd name="connsiteY9" fmla="*/ 157943 h 234386"/>
                <a:gd name="connsiteX10" fmla="*/ 99001 w 330180"/>
                <a:gd name="connsiteY10" fmla="*/ 157943 h 234386"/>
                <a:gd name="connsiteX11" fmla="*/ 140451 w 330180"/>
                <a:gd name="connsiteY11" fmla="*/ 0 h 234386"/>
                <a:gd name="connsiteX12" fmla="*/ 190642 w 330180"/>
                <a:gd name="connsiteY12" fmla="*/ 0 h 234386"/>
                <a:gd name="connsiteX13" fmla="*/ 233465 w 330180"/>
                <a:gd name="connsiteY13" fmla="*/ 157943 h 234386"/>
                <a:gd name="connsiteX14" fmla="*/ 234378 w 330180"/>
                <a:gd name="connsiteY14" fmla="*/ 157943 h 234386"/>
                <a:gd name="connsiteX15" fmla="*/ 273524 w 330180"/>
                <a:gd name="connsiteY15" fmla="*/ 0 h 234386"/>
                <a:gd name="connsiteX16" fmla="*/ 330180 w 330180"/>
                <a:gd name="connsiteY16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180" h="234386">
                  <a:moveTo>
                    <a:pt x="330180" y="0"/>
                  </a:moveTo>
                  <a:lnTo>
                    <a:pt x="260646" y="234386"/>
                  </a:lnTo>
                  <a:lnTo>
                    <a:pt x="208143" y="234386"/>
                  </a:lnTo>
                  <a:lnTo>
                    <a:pt x="165320" y="72298"/>
                  </a:lnTo>
                  <a:lnTo>
                    <a:pt x="164408" y="72298"/>
                  </a:lnTo>
                  <a:lnTo>
                    <a:pt x="122037" y="234386"/>
                  </a:lnTo>
                  <a:lnTo>
                    <a:pt x="69535" y="234386"/>
                  </a:lnTo>
                  <a:lnTo>
                    <a:pt x="0" y="0"/>
                  </a:lnTo>
                  <a:lnTo>
                    <a:pt x="57560" y="0"/>
                  </a:lnTo>
                  <a:lnTo>
                    <a:pt x="98089" y="157943"/>
                  </a:lnTo>
                  <a:lnTo>
                    <a:pt x="99001" y="157943"/>
                  </a:lnTo>
                  <a:lnTo>
                    <a:pt x="140451" y="0"/>
                  </a:lnTo>
                  <a:lnTo>
                    <a:pt x="190642" y="0"/>
                  </a:lnTo>
                  <a:lnTo>
                    <a:pt x="233465" y="157943"/>
                  </a:lnTo>
                  <a:lnTo>
                    <a:pt x="234378" y="157943"/>
                  </a:lnTo>
                  <a:lnTo>
                    <a:pt x="273524" y="0"/>
                  </a:lnTo>
                  <a:lnTo>
                    <a:pt x="33018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277">
              <a:extLst>
                <a:ext uri="{FF2B5EF4-FFF2-40B4-BE49-F238E27FC236}">
                  <a16:creationId xmlns:a16="http://schemas.microsoft.com/office/drawing/2014/main" id="{31296A63-45AB-EF4D-ABA5-843FF48766DB}"/>
                </a:ext>
              </a:extLst>
            </p:cNvPr>
            <p:cNvSpPr/>
            <p:nvPr/>
          </p:nvSpPr>
          <p:spPr>
            <a:xfrm>
              <a:off x="5647320" y="2954268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278">
              <a:extLst>
                <a:ext uri="{FF2B5EF4-FFF2-40B4-BE49-F238E27FC236}">
                  <a16:creationId xmlns:a16="http://schemas.microsoft.com/office/drawing/2014/main" id="{8C2DB2D2-8A3D-C447-A076-7BE8540BD4B8}"/>
                </a:ext>
              </a:extLst>
            </p:cNvPr>
            <p:cNvSpPr/>
            <p:nvPr/>
          </p:nvSpPr>
          <p:spPr>
            <a:xfrm>
              <a:off x="5759802" y="3052356"/>
              <a:ext cx="180502" cy="245891"/>
            </a:xfrm>
            <a:custGeom>
              <a:avLst/>
              <a:gdLst>
                <a:gd name="connsiteX0" fmla="*/ 26235 w 180502"/>
                <a:gd name="connsiteY0" fmla="*/ 174063 h 245891"/>
                <a:gd name="connsiteX1" fmla="*/ 92545 w 180502"/>
                <a:gd name="connsiteY1" fmla="*/ 200314 h 245891"/>
                <a:gd name="connsiteX2" fmla="*/ 127078 w 180502"/>
                <a:gd name="connsiteY2" fmla="*/ 176826 h 245891"/>
                <a:gd name="connsiteX3" fmla="*/ 9655 w 180502"/>
                <a:gd name="connsiteY3" fmla="*/ 72750 h 245891"/>
                <a:gd name="connsiteX4" fmla="*/ 98072 w 180502"/>
                <a:gd name="connsiteY4" fmla="*/ 0 h 245891"/>
                <a:gd name="connsiteX5" fmla="*/ 179120 w 180502"/>
                <a:gd name="connsiteY5" fmla="*/ 24401 h 245891"/>
                <a:gd name="connsiteX6" fmla="*/ 153338 w 180502"/>
                <a:gd name="connsiteY6" fmla="*/ 67223 h 245891"/>
                <a:gd name="connsiteX7" fmla="*/ 97159 w 180502"/>
                <a:gd name="connsiteY7" fmla="*/ 46499 h 245891"/>
                <a:gd name="connsiteX8" fmla="*/ 63539 w 180502"/>
                <a:gd name="connsiteY8" fmla="*/ 68145 h 245891"/>
                <a:gd name="connsiteX9" fmla="*/ 180502 w 180502"/>
                <a:gd name="connsiteY9" fmla="*/ 171751 h 245891"/>
                <a:gd name="connsiteX10" fmla="*/ 90251 w 180502"/>
                <a:gd name="connsiteY10" fmla="*/ 245891 h 245891"/>
                <a:gd name="connsiteX11" fmla="*/ 0 w 180502"/>
                <a:gd name="connsiteY11" fmla="*/ 217337 h 245891"/>
                <a:gd name="connsiteX12" fmla="*/ 26235 w 180502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02" h="245891">
                  <a:moveTo>
                    <a:pt x="26235" y="174063"/>
                  </a:moveTo>
                  <a:cubicBezTo>
                    <a:pt x="49254" y="191563"/>
                    <a:pt x="71821" y="200314"/>
                    <a:pt x="92545" y="200314"/>
                  </a:cubicBezTo>
                  <a:cubicBezTo>
                    <a:pt x="112801" y="200314"/>
                    <a:pt x="127078" y="191103"/>
                    <a:pt x="127078" y="176826"/>
                  </a:cubicBezTo>
                  <a:cubicBezTo>
                    <a:pt x="127078" y="136766"/>
                    <a:pt x="9655" y="151035"/>
                    <a:pt x="9655" y="72750"/>
                  </a:cubicBezTo>
                  <a:cubicBezTo>
                    <a:pt x="9655" y="29467"/>
                    <a:pt x="45578" y="0"/>
                    <a:pt x="98072" y="0"/>
                  </a:cubicBezTo>
                  <a:cubicBezTo>
                    <a:pt x="126166" y="0"/>
                    <a:pt x="154259" y="8282"/>
                    <a:pt x="179120" y="24401"/>
                  </a:cubicBezTo>
                  <a:lnTo>
                    <a:pt x="153338" y="67223"/>
                  </a:lnTo>
                  <a:cubicBezTo>
                    <a:pt x="133074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02" y="93014"/>
                    <a:pt x="180502" y="171751"/>
                  </a:cubicBezTo>
                  <a:cubicBezTo>
                    <a:pt x="180502" y="215956"/>
                    <a:pt x="144127" y="245891"/>
                    <a:pt x="90251" y="245891"/>
                  </a:cubicBezTo>
                  <a:cubicBezTo>
                    <a:pt x="58942" y="245891"/>
                    <a:pt x="27164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279">
              <a:extLst>
                <a:ext uri="{FF2B5EF4-FFF2-40B4-BE49-F238E27FC236}">
                  <a16:creationId xmlns:a16="http://schemas.microsoft.com/office/drawing/2014/main" id="{C8E5D30A-16E0-484D-A346-E4D9C5038845}"/>
                </a:ext>
              </a:extLst>
            </p:cNvPr>
            <p:cNvSpPr/>
            <p:nvPr/>
          </p:nvSpPr>
          <p:spPr>
            <a:xfrm>
              <a:off x="597652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87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47 w 180510"/>
                <a:gd name="connsiteY8" fmla="*/ 68145 h 245891"/>
                <a:gd name="connsiteX9" fmla="*/ 180510 w 180510"/>
                <a:gd name="connsiteY9" fmla="*/ 171751 h 245891"/>
                <a:gd name="connsiteX10" fmla="*/ 90259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1" y="200314"/>
                    <a:pt x="92545" y="200314"/>
                  </a:cubicBezTo>
                  <a:cubicBezTo>
                    <a:pt x="112809" y="200314"/>
                    <a:pt x="127087" y="191103"/>
                    <a:pt x="127087" y="176826"/>
                  </a:cubicBezTo>
                  <a:cubicBezTo>
                    <a:pt x="127087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2" y="53415"/>
                    <a:pt x="115129" y="46499"/>
                    <a:pt x="97159" y="46499"/>
                  </a:cubicBezTo>
                  <a:cubicBezTo>
                    <a:pt x="76904" y="46499"/>
                    <a:pt x="63547" y="55249"/>
                    <a:pt x="63547" y="68145"/>
                  </a:cubicBezTo>
                  <a:cubicBezTo>
                    <a:pt x="63547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9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9" name="Freihandform: Form 280">
              <a:extLst>
                <a:ext uri="{FF2B5EF4-FFF2-40B4-BE49-F238E27FC236}">
                  <a16:creationId xmlns:a16="http://schemas.microsoft.com/office/drawing/2014/main" id="{ED3322D9-3F6B-D844-8132-B543EC17FC83}"/>
                </a:ext>
              </a:extLst>
            </p:cNvPr>
            <p:cNvSpPr/>
            <p:nvPr/>
          </p:nvSpPr>
          <p:spPr>
            <a:xfrm>
              <a:off x="6201863" y="3052356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5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7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4" y="207214"/>
                  </a:lnTo>
                  <a:cubicBezTo>
                    <a:pt x="181432" y="233465"/>
                    <a:pt x="151496" y="245900"/>
                    <a:pt x="116034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5" y="65850"/>
                    <a:pt x="139990" y="45125"/>
                    <a:pt x="109134" y="45125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0" name="Freihandform: Form 281">
              <a:extLst>
                <a:ext uri="{FF2B5EF4-FFF2-40B4-BE49-F238E27FC236}">
                  <a16:creationId xmlns:a16="http://schemas.microsoft.com/office/drawing/2014/main" id="{11BE15B8-9FE9-8842-AFBF-19C02CC0595D}"/>
                </a:ext>
              </a:extLst>
            </p:cNvPr>
            <p:cNvSpPr/>
            <p:nvPr/>
          </p:nvSpPr>
          <p:spPr>
            <a:xfrm>
              <a:off x="6475831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7 w 201695"/>
                <a:gd name="connsiteY4" fmla="*/ 105910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7" y="80579"/>
                    <a:pt x="54797" y="105910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282">
              <a:extLst>
                <a:ext uri="{FF2B5EF4-FFF2-40B4-BE49-F238E27FC236}">
                  <a16:creationId xmlns:a16="http://schemas.microsoft.com/office/drawing/2014/main" id="{6F5E3C86-3605-5747-8319-8673A2928526}"/>
                </a:ext>
              </a:extLst>
            </p:cNvPr>
            <p:cNvSpPr/>
            <p:nvPr/>
          </p:nvSpPr>
          <p:spPr>
            <a:xfrm>
              <a:off x="672606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7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0" y="200314"/>
                    <a:pt x="92545" y="200314"/>
                  </a:cubicBezTo>
                  <a:cubicBezTo>
                    <a:pt x="112809" y="200314"/>
                    <a:pt x="127078" y="191103"/>
                    <a:pt x="127078" y="176826"/>
                  </a:cubicBezTo>
                  <a:cubicBezTo>
                    <a:pt x="127078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5" y="0"/>
                    <a:pt x="154259" y="8282"/>
                    <a:pt x="179128" y="24401"/>
                  </a:cubicBezTo>
                  <a:lnTo>
                    <a:pt x="153337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1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283">
              <a:extLst>
                <a:ext uri="{FF2B5EF4-FFF2-40B4-BE49-F238E27FC236}">
                  <a16:creationId xmlns:a16="http://schemas.microsoft.com/office/drawing/2014/main" id="{762F9A7D-75F9-E743-84CC-B5EDE4678AC8}"/>
                </a:ext>
              </a:extLst>
            </p:cNvPr>
            <p:cNvSpPr/>
            <p:nvPr/>
          </p:nvSpPr>
          <p:spPr>
            <a:xfrm>
              <a:off x="6951395" y="3052365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8 w 197542"/>
                <a:gd name="connsiteY3" fmla="*/ 0 h 245899"/>
                <a:gd name="connsiteX4" fmla="*/ 197542 w 197542"/>
                <a:gd name="connsiteY4" fmla="*/ 40060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25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60"/>
                  </a:cubicBezTo>
                  <a:lnTo>
                    <a:pt x="159777" y="75974"/>
                  </a:lnTo>
                  <a:cubicBezTo>
                    <a:pt x="145969" y="58013"/>
                    <a:pt x="131231" y="50192"/>
                    <a:pt x="112809" y="50192"/>
                  </a:cubicBezTo>
                  <a:cubicBezTo>
                    <a:pt x="78276" y="50192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62" y="196161"/>
                    <a:pt x="145500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84">
              <a:extLst>
                <a:ext uri="{FF2B5EF4-FFF2-40B4-BE49-F238E27FC236}">
                  <a16:creationId xmlns:a16="http://schemas.microsoft.com/office/drawing/2014/main" id="{A1C42B2E-EE11-6440-B845-3A6542A008C8}"/>
                </a:ext>
              </a:extLst>
            </p:cNvPr>
            <p:cNvSpPr/>
            <p:nvPr/>
          </p:nvSpPr>
          <p:spPr>
            <a:xfrm>
              <a:off x="7195938" y="2950140"/>
              <a:ext cx="201695" cy="342598"/>
            </a:xfrm>
            <a:custGeom>
              <a:avLst/>
              <a:gdLst>
                <a:gd name="connsiteX0" fmla="*/ 201695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7 h 342598"/>
                <a:gd name="connsiteX10" fmla="*/ 55718 w 201695"/>
                <a:gd name="connsiteY10" fmla="*/ 136297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5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7"/>
                  </a:lnTo>
                  <a:lnTo>
                    <a:pt x="55718" y="136297"/>
                  </a:lnTo>
                  <a:cubicBezTo>
                    <a:pt x="69074" y="115573"/>
                    <a:pt x="93483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85">
              <a:extLst>
                <a:ext uri="{FF2B5EF4-FFF2-40B4-BE49-F238E27FC236}">
                  <a16:creationId xmlns:a16="http://schemas.microsoft.com/office/drawing/2014/main" id="{3CC385F8-17EE-FB4E-A58D-E70F33DE0F72}"/>
                </a:ext>
              </a:extLst>
            </p:cNvPr>
            <p:cNvSpPr/>
            <p:nvPr/>
          </p:nvSpPr>
          <p:spPr>
            <a:xfrm>
              <a:off x="7451652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86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8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19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8" y="131240"/>
                    <a:pt x="106822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7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5" name="Freihandform: Form 286">
              <a:extLst>
                <a:ext uri="{FF2B5EF4-FFF2-40B4-BE49-F238E27FC236}">
                  <a16:creationId xmlns:a16="http://schemas.microsoft.com/office/drawing/2014/main" id="{E6B64C0C-7927-894E-B18C-68D4CECFE3A8}"/>
                </a:ext>
              </a:extLst>
            </p:cNvPr>
            <p:cNvSpPr/>
            <p:nvPr/>
          </p:nvSpPr>
          <p:spPr>
            <a:xfrm>
              <a:off x="7694437" y="2946899"/>
              <a:ext cx="143674" cy="345830"/>
            </a:xfrm>
            <a:custGeom>
              <a:avLst/>
              <a:gdLst>
                <a:gd name="connsiteX0" fmla="*/ 143674 w 143674"/>
                <a:gd name="connsiteY0" fmla="*/ 51582 h 345830"/>
                <a:gd name="connsiteX1" fmla="*/ 119734 w 143674"/>
                <a:gd name="connsiteY1" fmla="*/ 46976 h 345830"/>
                <a:gd name="connsiteX2" fmla="*/ 90720 w 143674"/>
                <a:gd name="connsiteY2" fmla="*/ 79667 h 345830"/>
                <a:gd name="connsiteX3" fmla="*/ 90720 w 143674"/>
                <a:gd name="connsiteY3" fmla="*/ 111445 h 345830"/>
                <a:gd name="connsiteX4" fmla="*/ 137235 w 143674"/>
                <a:gd name="connsiteY4" fmla="*/ 111445 h 345830"/>
                <a:gd name="connsiteX5" fmla="*/ 137235 w 143674"/>
                <a:gd name="connsiteY5" fmla="*/ 157031 h 345830"/>
                <a:gd name="connsiteX6" fmla="*/ 91180 w 143674"/>
                <a:gd name="connsiteY6" fmla="*/ 157031 h 345830"/>
                <a:gd name="connsiteX7" fmla="*/ 91180 w 143674"/>
                <a:gd name="connsiteY7" fmla="*/ 345831 h 345830"/>
                <a:gd name="connsiteX8" fmla="*/ 36383 w 143674"/>
                <a:gd name="connsiteY8" fmla="*/ 345831 h 345830"/>
                <a:gd name="connsiteX9" fmla="*/ 36383 w 143674"/>
                <a:gd name="connsiteY9" fmla="*/ 157031 h 345830"/>
                <a:gd name="connsiteX10" fmla="*/ 0 w 143674"/>
                <a:gd name="connsiteY10" fmla="*/ 157031 h 345830"/>
                <a:gd name="connsiteX11" fmla="*/ 0 w 143674"/>
                <a:gd name="connsiteY11" fmla="*/ 111445 h 345830"/>
                <a:gd name="connsiteX12" fmla="*/ 36383 w 143674"/>
                <a:gd name="connsiteY12" fmla="*/ 111445 h 345830"/>
                <a:gd name="connsiteX13" fmla="*/ 36383 w 143674"/>
                <a:gd name="connsiteY13" fmla="*/ 77825 h 345830"/>
                <a:gd name="connsiteX14" fmla="*/ 110983 w 143674"/>
                <a:gd name="connsiteY14" fmla="*/ 0 h 345830"/>
                <a:gd name="connsiteX15" fmla="*/ 143674 w 143674"/>
                <a:gd name="connsiteY15" fmla="*/ 5066 h 345830"/>
                <a:gd name="connsiteX16" fmla="*/ 143674 w 143674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4" h="345830">
                  <a:moveTo>
                    <a:pt x="143674" y="51582"/>
                  </a:moveTo>
                  <a:cubicBezTo>
                    <a:pt x="136306" y="48358"/>
                    <a:pt x="127555" y="46976"/>
                    <a:pt x="119734" y="46976"/>
                  </a:cubicBezTo>
                  <a:cubicBezTo>
                    <a:pt x="99010" y="46976"/>
                    <a:pt x="90720" y="57569"/>
                    <a:pt x="90720" y="79667"/>
                  </a:cubicBezTo>
                  <a:lnTo>
                    <a:pt x="90720" y="111445"/>
                  </a:lnTo>
                  <a:lnTo>
                    <a:pt x="137235" y="111445"/>
                  </a:lnTo>
                  <a:lnTo>
                    <a:pt x="137235" y="157031"/>
                  </a:lnTo>
                  <a:lnTo>
                    <a:pt x="91180" y="157031"/>
                  </a:lnTo>
                  <a:lnTo>
                    <a:pt x="91180" y="345831"/>
                  </a:lnTo>
                  <a:lnTo>
                    <a:pt x="36383" y="345831"/>
                  </a:lnTo>
                  <a:lnTo>
                    <a:pt x="36383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83" y="111445"/>
                  </a:lnTo>
                  <a:lnTo>
                    <a:pt x="36383" y="77825"/>
                  </a:lnTo>
                  <a:cubicBezTo>
                    <a:pt x="36383" y="29015"/>
                    <a:pt x="58490" y="0"/>
                    <a:pt x="110983" y="0"/>
                  </a:cubicBezTo>
                  <a:cubicBezTo>
                    <a:pt x="122958" y="0"/>
                    <a:pt x="134472" y="1382"/>
                    <a:pt x="143674" y="5066"/>
                  </a:cubicBezTo>
                  <a:lnTo>
                    <a:pt x="143674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6" name="Freihandform: Form 287">
              <a:extLst>
                <a:ext uri="{FF2B5EF4-FFF2-40B4-BE49-F238E27FC236}">
                  <a16:creationId xmlns:a16="http://schemas.microsoft.com/office/drawing/2014/main" id="{AD7AA03B-065B-884F-B753-EE431E475F56}"/>
                </a:ext>
              </a:extLst>
            </p:cNvPr>
            <p:cNvSpPr/>
            <p:nvPr/>
          </p:nvSpPr>
          <p:spPr>
            <a:xfrm>
              <a:off x="7867277" y="2982353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7" name="Freihandform: Form 288">
              <a:extLst>
                <a:ext uri="{FF2B5EF4-FFF2-40B4-BE49-F238E27FC236}">
                  <a16:creationId xmlns:a16="http://schemas.microsoft.com/office/drawing/2014/main" id="{D3F5F370-AD69-2D4C-85F1-46FCC7778636}"/>
                </a:ext>
              </a:extLst>
            </p:cNvPr>
            <p:cNvSpPr/>
            <p:nvPr/>
          </p:nvSpPr>
          <p:spPr>
            <a:xfrm>
              <a:off x="8049797" y="3052356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4 w 214130"/>
                <a:gd name="connsiteY2" fmla="*/ 0 h 245899"/>
                <a:gd name="connsiteX3" fmla="*/ 214131 w 214130"/>
                <a:gd name="connsiteY3" fmla="*/ 119266 h 245899"/>
                <a:gd name="connsiteX4" fmla="*/ 213209 w 214130"/>
                <a:gd name="connsiteY4" fmla="*/ 141824 h 245899"/>
                <a:gd name="connsiteX5" fmla="*/ 55727 w 214130"/>
                <a:gd name="connsiteY5" fmla="*/ 141824 h 245899"/>
                <a:gd name="connsiteX6" fmla="*/ 116510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88 w 214130"/>
                <a:gd name="connsiteY10" fmla="*/ 101765 h 245899"/>
                <a:gd name="connsiteX11" fmla="*/ 161159 w 214130"/>
                <a:gd name="connsiteY11" fmla="*/ 101765 h 245899"/>
                <a:gd name="connsiteX12" fmla="*/ 109125 w 214130"/>
                <a:gd name="connsiteY12" fmla="*/ 45125 h 245899"/>
                <a:gd name="connsiteX13" fmla="*/ 5478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4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09" y="141824"/>
                  </a:cubicBezTo>
                  <a:lnTo>
                    <a:pt x="55727" y="141824"/>
                  </a:lnTo>
                  <a:cubicBezTo>
                    <a:pt x="61714" y="178207"/>
                    <a:pt x="83351" y="198924"/>
                    <a:pt x="116510" y="198924"/>
                  </a:cubicBezTo>
                  <a:cubicBezTo>
                    <a:pt x="138147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23" y="233465"/>
                    <a:pt x="151487" y="245900"/>
                    <a:pt x="116033" y="245900"/>
                  </a:cubicBezTo>
                  <a:close/>
                  <a:moveTo>
                    <a:pt x="54788" y="101765"/>
                  </a:moveTo>
                  <a:lnTo>
                    <a:pt x="161159" y="101765"/>
                  </a:lnTo>
                  <a:cubicBezTo>
                    <a:pt x="158864" y="65850"/>
                    <a:pt x="139981" y="45125"/>
                    <a:pt x="109125" y="45125"/>
                  </a:cubicBezTo>
                  <a:cubicBezTo>
                    <a:pt x="78729" y="45134"/>
                    <a:pt x="59394" y="65390"/>
                    <a:pt x="5478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1" name="Freihandform: Form 289">
              <a:extLst>
                <a:ext uri="{FF2B5EF4-FFF2-40B4-BE49-F238E27FC236}">
                  <a16:creationId xmlns:a16="http://schemas.microsoft.com/office/drawing/2014/main" id="{4A88E5BF-5836-6D42-B2AB-2B1E947329F4}"/>
                </a:ext>
              </a:extLst>
            </p:cNvPr>
            <p:cNvSpPr/>
            <p:nvPr/>
          </p:nvSpPr>
          <p:spPr>
            <a:xfrm>
              <a:off x="8323756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2" name="Freihandform: Form 290">
              <a:extLst>
                <a:ext uri="{FF2B5EF4-FFF2-40B4-BE49-F238E27FC236}">
                  <a16:creationId xmlns:a16="http://schemas.microsoft.com/office/drawing/2014/main" id="{5944FE77-2F90-2348-85ED-D2E0C848463A}"/>
                </a:ext>
              </a:extLst>
            </p:cNvPr>
            <p:cNvSpPr/>
            <p:nvPr/>
          </p:nvSpPr>
          <p:spPr>
            <a:xfrm>
              <a:off x="8741466" y="2935854"/>
              <a:ext cx="31309" cy="452200"/>
            </a:xfrm>
            <a:custGeom>
              <a:avLst/>
              <a:gdLst>
                <a:gd name="connsiteX0" fmla="*/ 31309 w 31309"/>
                <a:gd name="connsiteY0" fmla="*/ 452201 h 452200"/>
                <a:gd name="connsiteX1" fmla="*/ 0 w 31309"/>
                <a:gd name="connsiteY1" fmla="*/ 452201 h 452200"/>
                <a:gd name="connsiteX2" fmla="*/ 0 w 31309"/>
                <a:gd name="connsiteY2" fmla="*/ 0 h 452200"/>
                <a:gd name="connsiteX3" fmla="*/ 31309 w 31309"/>
                <a:gd name="connsiteY3" fmla="*/ 0 h 452200"/>
                <a:gd name="connsiteX4" fmla="*/ 31309 w 31309"/>
                <a:gd name="connsiteY4" fmla="*/ 452201 h 45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452200">
                  <a:moveTo>
                    <a:pt x="31309" y="452201"/>
                  </a:moveTo>
                  <a:lnTo>
                    <a:pt x="0" y="452201"/>
                  </a:lnTo>
                  <a:lnTo>
                    <a:pt x="0" y="0"/>
                  </a:lnTo>
                  <a:lnTo>
                    <a:pt x="31309" y="0"/>
                  </a:lnTo>
                  <a:lnTo>
                    <a:pt x="31309" y="45220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3" name="Freihandform: Form 291">
              <a:extLst>
                <a:ext uri="{FF2B5EF4-FFF2-40B4-BE49-F238E27FC236}">
                  <a16:creationId xmlns:a16="http://schemas.microsoft.com/office/drawing/2014/main" id="{80B92F82-E6FF-3D47-8E3F-BA9DAC96F098}"/>
                </a:ext>
              </a:extLst>
            </p:cNvPr>
            <p:cNvSpPr/>
            <p:nvPr/>
          </p:nvSpPr>
          <p:spPr>
            <a:xfrm>
              <a:off x="8970820" y="2968545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8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3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8 w 398768"/>
                <a:gd name="connsiteY9" fmla="*/ 0 h 324184"/>
                <a:gd name="connsiteX10" fmla="*/ 317260 w 398768"/>
                <a:gd name="connsiteY10" fmla="*/ 324185 h 324184"/>
                <a:gd name="connsiteX11" fmla="*/ 257857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8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3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8" y="0"/>
                  </a:lnTo>
                  <a:lnTo>
                    <a:pt x="317260" y="324185"/>
                  </a:lnTo>
                  <a:lnTo>
                    <a:pt x="257857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4" name="Freihandform: Form 292">
              <a:extLst>
                <a:ext uri="{FF2B5EF4-FFF2-40B4-BE49-F238E27FC236}">
                  <a16:creationId xmlns:a16="http://schemas.microsoft.com/office/drawing/2014/main" id="{64C4FFA3-F4AC-3F41-A5FB-2CB056B9C0FE}"/>
                </a:ext>
              </a:extLst>
            </p:cNvPr>
            <p:cNvSpPr/>
            <p:nvPr/>
          </p:nvSpPr>
          <p:spPr>
            <a:xfrm>
              <a:off x="941575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5" name="Freihandform: Form 293">
              <a:extLst>
                <a:ext uri="{FF2B5EF4-FFF2-40B4-BE49-F238E27FC236}">
                  <a16:creationId xmlns:a16="http://schemas.microsoft.com/office/drawing/2014/main" id="{5B446D7B-E0C1-0F4F-8BD0-A125A1C87746}"/>
                </a:ext>
              </a:extLst>
            </p:cNvPr>
            <p:cNvSpPr/>
            <p:nvPr/>
          </p:nvSpPr>
          <p:spPr>
            <a:xfrm>
              <a:off x="9528805" y="2963018"/>
              <a:ext cx="227486" cy="335246"/>
            </a:xfrm>
            <a:custGeom>
              <a:avLst/>
              <a:gdLst>
                <a:gd name="connsiteX0" fmla="*/ 36383 w 227486"/>
                <a:gd name="connsiteY0" fmla="*/ 245900 h 335246"/>
                <a:gd name="connsiteX1" fmla="*/ 116971 w 227486"/>
                <a:gd name="connsiteY1" fmla="*/ 282283 h 335246"/>
                <a:gd name="connsiteX2" fmla="*/ 169466 w 227486"/>
                <a:gd name="connsiteY2" fmla="*/ 241755 h 335246"/>
                <a:gd name="connsiteX3" fmla="*/ 10601 w 227486"/>
                <a:gd name="connsiteY3" fmla="*/ 93944 h 335246"/>
                <a:gd name="connsiteX4" fmla="*/ 120656 w 227486"/>
                <a:gd name="connsiteY4" fmla="*/ 0 h 335246"/>
                <a:gd name="connsiteX5" fmla="*/ 225183 w 227486"/>
                <a:gd name="connsiteY5" fmla="*/ 39147 h 335246"/>
                <a:gd name="connsiteX6" fmla="*/ 188808 w 227486"/>
                <a:gd name="connsiteY6" fmla="*/ 83812 h 335246"/>
                <a:gd name="connsiteX7" fmla="*/ 117884 w 227486"/>
                <a:gd name="connsiteY7" fmla="*/ 52503 h 335246"/>
                <a:gd name="connsiteX8" fmla="*/ 68613 w 227486"/>
                <a:gd name="connsiteY8" fmla="*/ 88886 h 335246"/>
                <a:gd name="connsiteX9" fmla="*/ 227486 w 227486"/>
                <a:gd name="connsiteY9" fmla="*/ 237158 h 335246"/>
                <a:gd name="connsiteX10" fmla="*/ 115590 w 227486"/>
                <a:gd name="connsiteY10" fmla="*/ 335246 h 335246"/>
                <a:gd name="connsiteX11" fmla="*/ 0 w 227486"/>
                <a:gd name="connsiteY11" fmla="*/ 290573 h 335246"/>
                <a:gd name="connsiteX12" fmla="*/ 36383 w 227486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86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71" y="282283"/>
                  </a:cubicBezTo>
                  <a:cubicBezTo>
                    <a:pt x="147359" y="282283"/>
                    <a:pt x="169466" y="265243"/>
                    <a:pt x="169466" y="241755"/>
                  </a:cubicBezTo>
                  <a:cubicBezTo>
                    <a:pt x="169466" y="179589"/>
                    <a:pt x="10601" y="198932"/>
                    <a:pt x="10601" y="93944"/>
                  </a:cubicBezTo>
                  <a:cubicBezTo>
                    <a:pt x="10601" y="38226"/>
                    <a:pt x="55727" y="0"/>
                    <a:pt x="120656" y="0"/>
                  </a:cubicBezTo>
                  <a:cubicBezTo>
                    <a:pt x="159342" y="0"/>
                    <a:pt x="195256" y="13356"/>
                    <a:pt x="225183" y="39147"/>
                  </a:cubicBezTo>
                  <a:lnTo>
                    <a:pt x="188808" y="83812"/>
                  </a:lnTo>
                  <a:cubicBezTo>
                    <a:pt x="165321" y="63087"/>
                    <a:pt x="141841" y="52503"/>
                    <a:pt x="117884" y="52503"/>
                  </a:cubicBezTo>
                  <a:cubicBezTo>
                    <a:pt x="89339" y="52503"/>
                    <a:pt x="68613" y="67692"/>
                    <a:pt x="68613" y="88886"/>
                  </a:cubicBezTo>
                  <a:cubicBezTo>
                    <a:pt x="68613" y="147359"/>
                    <a:pt x="227486" y="128024"/>
                    <a:pt x="227486" y="237158"/>
                  </a:cubicBezTo>
                  <a:cubicBezTo>
                    <a:pt x="227486" y="295639"/>
                    <a:pt x="182352" y="335246"/>
                    <a:pt x="115590" y="335246"/>
                  </a:cubicBezTo>
                  <a:cubicBezTo>
                    <a:pt x="72767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6" name="Freihandform: Form 294">
              <a:extLst>
                <a:ext uri="{FF2B5EF4-FFF2-40B4-BE49-F238E27FC236}">
                  <a16:creationId xmlns:a16="http://schemas.microsoft.com/office/drawing/2014/main" id="{F99A2B08-EB8E-3C4E-86A9-E0CD77BE4516}"/>
                </a:ext>
              </a:extLst>
            </p:cNvPr>
            <p:cNvSpPr/>
            <p:nvPr/>
          </p:nvSpPr>
          <p:spPr>
            <a:xfrm>
              <a:off x="9804959" y="3052356"/>
              <a:ext cx="225636" cy="245908"/>
            </a:xfrm>
            <a:custGeom>
              <a:avLst/>
              <a:gdLst>
                <a:gd name="connsiteX0" fmla="*/ 0 w 225636"/>
                <a:gd name="connsiteY0" fmla="*/ 122950 h 245908"/>
                <a:gd name="connsiteX1" fmla="*/ 113739 w 225636"/>
                <a:gd name="connsiteY1" fmla="*/ 0 h 245908"/>
                <a:gd name="connsiteX2" fmla="*/ 225636 w 225636"/>
                <a:gd name="connsiteY2" fmla="*/ 122950 h 245908"/>
                <a:gd name="connsiteX3" fmla="*/ 113739 w 225636"/>
                <a:gd name="connsiteY3" fmla="*/ 245908 h 245908"/>
                <a:gd name="connsiteX4" fmla="*/ 0 w 225636"/>
                <a:gd name="connsiteY4" fmla="*/ 122950 h 245908"/>
                <a:gd name="connsiteX5" fmla="*/ 171300 w 225636"/>
                <a:gd name="connsiteY5" fmla="*/ 123410 h 245908"/>
                <a:gd name="connsiteX6" fmla="*/ 112818 w 225636"/>
                <a:gd name="connsiteY6" fmla="*/ 49731 h 245908"/>
                <a:gd name="connsiteX7" fmla="*/ 54345 w 225636"/>
                <a:gd name="connsiteY7" fmla="*/ 122481 h 245908"/>
                <a:gd name="connsiteX8" fmla="*/ 113287 w 225636"/>
                <a:gd name="connsiteY8" fmla="*/ 196621 h 245908"/>
                <a:gd name="connsiteX9" fmla="*/ 171300 w 225636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36" h="245908">
                  <a:moveTo>
                    <a:pt x="0" y="122950"/>
                  </a:moveTo>
                  <a:cubicBezTo>
                    <a:pt x="0" y="49270"/>
                    <a:pt x="45586" y="0"/>
                    <a:pt x="113739" y="0"/>
                  </a:cubicBezTo>
                  <a:cubicBezTo>
                    <a:pt x="181431" y="0"/>
                    <a:pt x="225636" y="48349"/>
                    <a:pt x="225636" y="122950"/>
                  </a:cubicBezTo>
                  <a:cubicBezTo>
                    <a:pt x="225636" y="196629"/>
                    <a:pt x="181884" y="245908"/>
                    <a:pt x="113739" y="245908"/>
                  </a:cubicBezTo>
                  <a:cubicBezTo>
                    <a:pt x="46047" y="245900"/>
                    <a:pt x="0" y="197090"/>
                    <a:pt x="0" y="122950"/>
                  </a:cubicBezTo>
                  <a:close/>
                  <a:moveTo>
                    <a:pt x="171300" y="123410"/>
                  </a:moveTo>
                  <a:cubicBezTo>
                    <a:pt x="171300" y="77824"/>
                    <a:pt x="148741" y="49731"/>
                    <a:pt x="112818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03" y="196621"/>
                    <a:pt x="113287" y="196621"/>
                  </a:cubicBezTo>
                  <a:cubicBezTo>
                    <a:pt x="149193" y="196629"/>
                    <a:pt x="171300" y="168536"/>
                    <a:pt x="171300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87" name="Freihandform: Form 92">
            <a:extLst>
              <a:ext uri="{FF2B5EF4-FFF2-40B4-BE49-F238E27FC236}">
                <a16:creationId xmlns:a16="http://schemas.microsoft.com/office/drawing/2014/main" id="{7D8B89C2-03BA-BF41-B421-7D361A7B4853}"/>
              </a:ext>
            </a:extLst>
          </p:cNvPr>
          <p:cNvSpPr/>
          <p:nvPr userDrawn="1"/>
        </p:nvSpPr>
        <p:spPr>
          <a:xfrm>
            <a:off x="10272160" y="300704"/>
            <a:ext cx="1403903" cy="535987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rgbClr val="041E42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9" name="Bildplatzhalter 8">
            <a:extLst>
              <a:ext uri="{FF2B5EF4-FFF2-40B4-BE49-F238E27FC236}">
                <a16:creationId xmlns:a16="http://schemas.microsoft.com/office/drawing/2014/main" id="{C307E1A8-BB91-4A01-9481-49FD8B5663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7ADEC47A-086D-40D0-ACA4-69135933812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814385D7-3CBE-40E3-B67F-C8C515F3C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BF0108A6-83E5-4EB1-9FFE-599D1B8CC3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267C2477-3228-475F-AFD7-A441A08AAE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372EDABB-0CB3-495E-B38E-EBB187C3F0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F8DE391A-D3CD-46A0-9DA6-BE18B632C9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22FFA5-3E37-4F35-A696-49186B6B11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FD50D54-7BD1-4F76-8C9C-C2D77E5924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1CB17604-E112-4197-B54C-292891529D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D30B4D90-1B5E-403E-AD31-C320040320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72B1944A-640B-4200-A785-CFA163F718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CB7BBA-6A53-45DD-882E-1DF6A99780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E56B6C1-047C-44D7-B1DD-8B723581E0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rgbClr val="C50F3C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F4DFED6-EBAA-4D0C-A5C6-CD2902883FB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5D3C98-AF8F-400F-858D-1D6CD4B95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48A61E00-2C71-4160-8106-B46A2E7202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760054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/>
              <a:t>Kapiteltrenner</a:t>
            </a:r>
            <a:br>
              <a:rPr lang="de-DE"/>
            </a:br>
            <a:r>
              <a:rPr lang="de-DE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7987594-F169-42FB-8839-77BF8D405E37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rgbClr val="971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9A6E8BA9-5951-4163-8A80-4621C65DA816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59DAB7DF-1308-4B09-91FE-7DF38D6584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87654828-5D94-4A05-BD5F-25792A149E05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9D3F2F75-1623-4F64-97FE-EA0C4D9FABDC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B042E0F0-49A6-465F-A607-A4C2EFB548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9D612980-2A2D-4E94-8238-9C67C608554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2CE76F8C-9B22-4BB3-B2D6-15EC2A58C7A7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9C843E82-BEFA-4CF2-BA2F-3C80060D31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4762BE88-2459-479F-84FF-4DF483AA142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104E26F8-EA1A-4C6F-92E1-8F6F98ABFA13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1A8A854C-301D-4327-AEA2-BCC20A887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5A547124-456E-49C6-8FC8-111D0AAFEB7F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73B26B5D-1FEC-45B5-B34A-6A1B50955F0E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3423A679-4F5C-456E-AB6C-7A18EA3E5B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69754FAD-5E71-4087-B3E8-0FEC37E0D864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7C156EC4-BDB3-4DEA-9B78-E98FCFD2F54B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9E9C384D-D46B-429F-9A97-86F6E3560F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64B7918E-86D1-49EB-8917-1468D42A6E25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750A6733-FD78-4442-98B4-E2BED64B460F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77BB574D-D198-49E4-874D-732C0CBD5BF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67A72ACB-A6A0-450F-A8F3-9CA35EFC5560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C4970FA2-8D2D-462F-BD21-BDE052DC5824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A7C30986-FB99-416E-BC3E-3BAEC067C1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4CE018F4-A860-49B3-B4CD-A328759F15C6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7C2BACBD-0A67-4A9A-B5DC-10C76F5DE4C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65F81584-9968-42FA-B3A9-1C13CEAE92A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B6D353C6-61DE-4475-8AC6-6D8AF12D49FB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935008F2-D1D5-498F-9932-727B677C0ADE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9E72FA59-B055-4F1F-8F32-E797C18F96F9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B89FA96C-C88D-4C6A-BE88-F3E3083BC5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CD67028C-ACEA-4E1C-BF3F-B09177D4335E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23" name="Grafik 3">
            <a:extLst>
              <a:ext uri="{FF2B5EF4-FFF2-40B4-BE49-F238E27FC236}">
                <a16:creationId xmlns:a16="http://schemas.microsoft.com/office/drawing/2014/main" id="{FF4D5521-B071-6745-B2F3-87EA82C9635E}"/>
              </a:ext>
            </a:extLst>
          </p:cNvPr>
          <p:cNvGrpSpPr/>
          <p:nvPr userDrawn="1"/>
        </p:nvGrpSpPr>
        <p:grpSpPr>
          <a:xfrm>
            <a:off x="510639" y="293688"/>
            <a:ext cx="2631832" cy="563562"/>
            <a:chOff x="4011188" y="1936931"/>
            <a:chExt cx="6776742" cy="1451124"/>
          </a:xfrm>
          <a:solidFill>
            <a:schemeClr val="tx1"/>
          </a:solidFill>
        </p:grpSpPr>
        <p:sp>
          <p:nvSpPr>
            <p:cNvPr id="124" name="Freihandform: Form 213">
              <a:extLst>
                <a:ext uri="{FF2B5EF4-FFF2-40B4-BE49-F238E27FC236}">
                  <a16:creationId xmlns:a16="http://schemas.microsoft.com/office/drawing/2014/main" id="{BBC0E53F-3775-A841-91AA-38C36E916E2F}"/>
                </a:ext>
              </a:extLst>
            </p:cNvPr>
            <p:cNvSpPr/>
            <p:nvPr/>
          </p:nvSpPr>
          <p:spPr>
            <a:xfrm>
              <a:off x="4034676" y="1955336"/>
              <a:ext cx="203537" cy="324184"/>
            </a:xfrm>
            <a:custGeom>
              <a:avLst/>
              <a:gdLst>
                <a:gd name="connsiteX0" fmla="*/ 203538 w 203537"/>
                <a:gd name="connsiteY0" fmla="*/ 52963 h 324184"/>
                <a:gd name="connsiteX1" fmla="*/ 57561 w 203537"/>
                <a:gd name="connsiteY1" fmla="*/ 52963 h 324184"/>
                <a:gd name="connsiteX2" fmla="*/ 57561 w 203537"/>
                <a:gd name="connsiteY2" fmla="*/ 133551 h 324184"/>
                <a:gd name="connsiteX3" fmla="*/ 166694 w 203537"/>
                <a:gd name="connsiteY3" fmla="*/ 133551 h 324184"/>
                <a:gd name="connsiteX4" fmla="*/ 166694 w 203537"/>
                <a:gd name="connsiteY4" fmla="*/ 186045 h 324184"/>
                <a:gd name="connsiteX5" fmla="*/ 57561 w 203537"/>
                <a:gd name="connsiteY5" fmla="*/ 186045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63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63"/>
                  </a:moveTo>
                  <a:lnTo>
                    <a:pt x="57561" y="52963"/>
                  </a:lnTo>
                  <a:lnTo>
                    <a:pt x="57561" y="133551"/>
                  </a:lnTo>
                  <a:lnTo>
                    <a:pt x="166694" y="133551"/>
                  </a:lnTo>
                  <a:lnTo>
                    <a:pt x="166694" y="186045"/>
                  </a:lnTo>
                  <a:lnTo>
                    <a:pt x="57561" y="186045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214">
              <a:extLst>
                <a:ext uri="{FF2B5EF4-FFF2-40B4-BE49-F238E27FC236}">
                  <a16:creationId xmlns:a16="http://schemas.microsoft.com/office/drawing/2014/main" id="{ABBDBB9D-3FFE-8A48-9EF3-A0A275A6710B}"/>
                </a:ext>
              </a:extLst>
            </p:cNvPr>
            <p:cNvSpPr/>
            <p:nvPr/>
          </p:nvSpPr>
          <p:spPr>
            <a:xfrm>
              <a:off x="426950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94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84 w 141832"/>
                <a:gd name="connsiteY7" fmla="*/ 5979 h 240364"/>
                <a:gd name="connsiteX8" fmla="*/ 53884 w 141832"/>
                <a:gd name="connsiteY8" fmla="*/ 35454 h 240364"/>
                <a:gd name="connsiteX9" fmla="*/ 54797 w 141832"/>
                <a:gd name="connsiteY9" fmla="*/ 35454 h 240364"/>
                <a:gd name="connsiteX10" fmla="*/ 116041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800" y="56631"/>
                    <a:pt x="114668" y="53868"/>
                    <a:pt x="102694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84" y="5979"/>
                  </a:lnTo>
                  <a:lnTo>
                    <a:pt x="53884" y="35454"/>
                  </a:lnTo>
                  <a:lnTo>
                    <a:pt x="54797" y="35454"/>
                  </a:lnTo>
                  <a:cubicBezTo>
                    <a:pt x="67232" y="13348"/>
                    <a:pt x="89338" y="0"/>
                    <a:pt x="116041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215">
              <a:extLst>
                <a:ext uri="{FF2B5EF4-FFF2-40B4-BE49-F238E27FC236}">
                  <a16:creationId xmlns:a16="http://schemas.microsoft.com/office/drawing/2014/main" id="{3B6212E7-380B-A948-BA31-FE2173B4FCA4}"/>
                </a:ext>
              </a:extLst>
            </p:cNvPr>
            <p:cNvSpPr/>
            <p:nvPr/>
          </p:nvSpPr>
          <p:spPr>
            <a:xfrm>
              <a:off x="4450268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5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5 w 69542"/>
                <a:gd name="connsiteY8" fmla="*/ 104076 h 338461"/>
                <a:gd name="connsiteX9" fmla="*/ 62175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76" y="0"/>
                    <a:pt x="69543" y="14277"/>
                    <a:pt x="69543" y="33160"/>
                  </a:cubicBezTo>
                  <a:close/>
                  <a:moveTo>
                    <a:pt x="6217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5" y="104076"/>
                  </a:lnTo>
                  <a:lnTo>
                    <a:pt x="6217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7" name="Freihandform: Form 216">
              <a:extLst>
                <a:ext uri="{FF2B5EF4-FFF2-40B4-BE49-F238E27FC236}">
                  <a16:creationId xmlns:a16="http://schemas.microsoft.com/office/drawing/2014/main" id="{FA8A5BEB-CB56-6D40-96B5-989006947976}"/>
                </a:ext>
              </a:extLst>
            </p:cNvPr>
            <p:cNvSpPr/>
            <p:nvPr/>
          </p:nvSpPr>
          <p:spPr>
            <a:xfrm>
              <a:off x="4570153" y="2039148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6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8"/>
                    <a:pt x="83360" y="198924"/>
                    <a:pt x="116511" y="198924"/>
                  </a:cubicBezTo>
                  <a:cubicBezTo>
                    <a:pt x="138157" y="198924"/>
                    <a:pt x="155657" y="190634"/>
                    <a:pt x="174079" y="171291"/>
                  </a:cubicBezTo>
                  <a:lnTo>
                    <a:pt x="208152" y="207214"/>
                  </a:lnTo>
                  <a:cubicBezTo>
                    <a:pt x="181431" y="233465"/>
                    <a:pt x="151495" y="245900"/>
                    <a:pt x="116042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6"/>
                    <a:pt x="109125" y="45126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8" name="Freihandform: Form 217">
              <a:extLst>
                <a:ext uri="{FF2B5EF4-FFF2-40B4-BE49-F238E27FC236}">
                  <a16:creationId xmlns:a16="http://schemas.microsoft.com/office/drawing/2014/main" id="{CCD05151-9893-CC4B-A748-4DC6D4396DC8}"/>
                </a:ext>
              </a:extLst>
            </p:cNvPr>
            <p:cNvSpPr/>
            <p:nvPr/>
          </p:nvSpPr>
          <p:spPr>
            <a:xfrm>
              <a:off x="4831929" y="1936931"/>
              <a:ext cx="219187" cy="348116"/>
            </a:xfrm>
            <a:custGeom>
              <a:avLst/>
              <a:gdLst>
                <a:gd name="connsiteX0" fmla="*/ 0 w 219187"/>
                <a:gd name="connsiteY0" fmla="*/ 224706 h 348116"/>
                <a:gd name="connsiteX1" fmla="*/ 95317 w 219187"/>
                <a:gd name="connsiteY1" fmla="*/ 102217 h 348116"/>
                <a:gd name="connsiteX2" fmla="*/ 163478 w 219187"/>
                <a:gd name="connsiteY2" fmla="*/ 133986 h 348116"/>
                <a:gd name="connsiteX3" fmla="*/ 164391 w 219187"/>
                <a:gd name="connsiteY3" fmla="*/ 133986 h 348116"/>
                <a:gd name="connsiteX4" fmla="*/ 164391 w 219187"/>
                <a:gd name="connsiteY4" fmla="*/ 13808 h 348116"/>
                <a:gd name="connsiteX5" fmla="*/ 219188 w 219187"/>
                <a:gd name="connsiteY5" fmla="*/ 0 h 348116"/>
                <a:gd name="connsiteX6" fmla="*/ 219188 w 219187"/>
                <a:gd name="connsiteY6" fmla="*/ 342590 h 348116"/>
                <a:gd name="connsiteX7" fmla="*/ 165773 w 219187"/>
                <a:gd name="connsiteY7" fmla="*/ 342590 h 348116"/>
                <a:gd name="connsiteX8" fmla="*/ 165773 w 219187"/>
                <a:gd name="connsiteY8" fmla="*/ 314957 h 348116"/>
                <a:gd name="connsiteX9" fmla="*/ 164851 w 219187"/>
                <a:gd name="connsiteY9" fmla="*/ 314957 h 348116"/>
                <a:gd name="connsiteX10" fmla="*/ 94404 w 219187"/>
                <a:gd name="connsiteY10" fmla="*/ 348117 h 348116"/>
                <a:gd name="connsiteX11" fmla="*/ 0 w 219187"/>
                <a:gd name="connsiteY11" fmla="*/ 224706 h 348116"/>
                <a:gd name="connsiteX12" fmla="*/ 54328 w 219187"/>
                <a:gd name="connsiteY12" fmla="*/ 224706 h 348116"/>
                <a:gd name="connsiteX13" fmla="*/ 108664 w 219187"/>
                <a:gd name="connsiteY13" fmla="*/ 299767 h 348116"/>
                <a:gd name="connsiteX14" fmla="*/ 164383 w 219187"/>
                <a:gd name="connsiteY14" fmla="*/ 268911 h 348116"/>
                <a:gd name="connsiteX15" fmla="*/ 164383 w 219187"/>
                <a:gd name="connsiteY15" fmla="*/ 183265 h 348116"/>
                <a:gd name="connsiteX16" fmla="*/ 108664 w 219187"/>
                <a:gd name="connsiteY16" fmla="*/ 151956 h 348116"/>
                <a:gd name="connsiteX17" fmla="*/ 54328 w 219187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87" h="348116">
                  <a:moveTo>
                    <a:pt x="0" y="224706"/>
                  </a:moveTo>
                  <a:cubicBezTo>
                    <a:pt x="0" y="149185"/>
                    <a:pt x="38217" y="102217"/>
                    <a:pt x="95317" y="102217"/>
                  </a:cubicBezTo>
                  <a:cubicBezTo>
                    <a:pt x="124792" y="102217"/>
                    <a:pt x="147819" y="114643"/>
                    <a:pt x="163478" y="133986"/>
                  </a:cubicBezTo>
                  <a:lnTo>
                    <a:pt x="164391" y="133986"/>
                  </a:lnTo>
                  <a:lnTo>
                    <a:pt x="164391" y="13808"/>
                  </a:lnTo>
                  <a:lnTo>
                    <a:pt x="219188" y="0"/>
                  </a:lnTo>
                  <a:lnTo>
                    <a:pt x="219188" y="342590"/>
                  </a:lnTo>
                  <a:lnTo>
                    <a:pt x="165773" y="342590"/>
                  </a:lnTo>
                  <a:lnTo>
                    <a:pt x="165773" y="314957"/>
                  </a:lnTo>
                  <a:lnTo>
                    <a:pt x="164851" y="314957"/>
                  </a:lnTo>
                  <a:cubicBezTo>
                    <a:pt x="147819" y="335682"/>
                    <a:pt x="123410" y="348117"/>
                    <a:pt x="94404" y="348117"/>
                  </a:cubicBezTo>
                  <a:cubicBezTo>
                    <a:pt x="38677" y="348117"/>
                    <a:pt x="0" y="300689"/>
                    <a:pt x="0" y="224706"/>
                  </a:cubicBezTo>
                  <a:close/>
                  <a:moveTo>
                    <a:pt x="54328" y="224706"/>
                  </a:moveTo>
                  <a:cubicBezTo>
                    <a:pt x="54328" y="272595"/>
                    <a:pt x="74131" y="299767"/>
                    <a:pt x="108664" y="299767"/>
                  </a:cubicBezTo>
                  <a:cubicBezTo>
                    <a:pt x="129849" y="299767"/>
                    <a:pt x="147351" y="289635"/>
                    <a:pt x="164383" y="268911"/>
                  </a:cubicBezTo>
                  <a:lnTo>
                    <a:pt x="164383" y="183265"/>
                  </a:lnTo>
                  <a:cubicBezTo>
                    <a:pt x="148732" y="162088"/>
                    <a:pt x="130762" y="151956"/>
                    <a:pt x="108664" y="151956"/>
                  </a:cubicBezTo>
                  <a:cubicBezTo>
                    <a:pt x="73210" y="151956"/>
                    <a:pt x="54328" y="177739"/>
                    <a:pt x="54328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ihandform: Form 218">
              <a:extLst>
                <a:ext uri="{FF2B5EF4-FFF2-40B4-BE49-F238E27FC236}">
                  <a16:creationId xmlns:a16="http://schemas.microsoft.com/office/drawing/2014/main" id="{1BAFAEF8-1C94-7C42-81CE-AE4E6CBFEAC1}"/>
                </a:ext>
              </a:extLst>
            </p:cNvPr>
            <p:cNvSpPr/>
            <p:nvPr/>
          </p:nvSpPr>
          <p:spPr>
            <a:xfrm>
              <a:off x="5122486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2 w 141832"/>
                <a:gd name="connsiteY1" fmla="*/ 61236 h 240364"/>
                <a:gd name="connsiteX2" fmla="*/ 102686 w 141832"/>
                <a:gd name="connsiteY2" fmla="*/ 53868 h 240364"/>
                <a:gd name="connsiteX3" fmla="*/ 54797 w 141832"/>
                <a:gd name="connsiteY3" fmla="*/ 120178 h 240364"/>
                <a:gd name="connsiteX4" fmla="*/ 54797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7 w 141832"/>
                <a:gd name="connsiteY9" fmla="*/ 35454 h 240364"/>
                <a:gd name="connsiteX10" fmla="*/ 116033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2" y="61236"/>
                  </a:lnTo>
                  <a:cubicBezTo>
                    <a:pt x="124792" y="56631"/>
                    <a:pt x="114660" y="53868"/>
                    <a:pt x="102686" y="53868"/>
                  </a:cubicBezTo>
                  <a:cubicBezTo>
                    <a:pt x="64929" y="53868"/>
                    <a:pt x="54797" y="84264"/>
                    <a:pt x="54797" y="120178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3" y="0"/>
                  </a:cubicBezTo>
                  <a:cubicBezTo>
                    <a:pt x="123871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219">
              <a:extLst>
                <a:ext uri="{FF2B5EF4-FFF2-40B4-BE49-F238E27FC236}">
                  <a16:creationId xmlns:a16="http://schemas.microsoft.com/office/drawing/2014/main" id="{00515CC8-EBEB-E543-A5E2-525BDBE1C9C4}"/>
                </a:ext>
              </a:extLst>
            </p:cNvPr>
            <p:cNvSpPr/>
            <p:nvPr/>
          </p:nvSpPr>
          <p:spPr>
            <a:xfrm>
              <a:off x="5303239" y="1941059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220">
              <a:extLst>
                <a:ext uri="{FF2B5EF4-FFF2-40B4-BE49-F238E27FC236}">
                  <a16:creationId xmlns:a16="http://schemas.microsoft.com/office/drawing/2014/main" id="{AEE9879A-127B-694C-A008-BDCD0D133A6B}"/>
                </a:ext>
              </a:extLst>
            </p:cNvPr>
            <p:cNvSpPr/>
            <p:nvPr/>
          </p:nvSpPr>
          <p:spPr>
            <a:xfrm>
              <a:off x="5424179" y="2039156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2"/>
                    <a:pt x="112809" y="50192"/>
                  </a:cubicBezTo>
                  <a:cubicBezTo>
                    <a:pt x="78277" y="50192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71" y="196161"/>
                    <a:pt x="145509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ihandform: Form 221">
              <a:extLst>
                <a:ext uri="{FF2B5EF4-FFF2-40B4-BE49-F238E27FC236}">
                  <a16:creationId xmlns:a16="http://schemas.microsoft.com/office/drawing/2014/main" id="{01D04F60-2F45-DF4A-846C-5BA8950B70A3}"/>
                </a:ext>
              </a:extLst>
            </p:cNvPr>
            <p:cNvSpPr/>
            <p:nvPr/>
          </p:nvSpPr>
          <p:spPr>
            <a:xfrm>
              <a:off x="5668731" y="1936931"/>
              <a:ext cx="201695" cy="342590"/>
            </a:xfrm>
            <a:custGeom>
              <a:avLst/>
              <a:gdLst>
                <a:gd name="connsiteX0" fmla="*/ 201695 w 201695"/>
                <a:gd name="connsiteY0" fmla="*/ 342590 h 342590"/>
                <a:gd name="connsiteX1" fmla="*/ 146898 w 201695"/>
                <a:gd name="connsiteY1" fmla="*/ 342590 h 342590"/>
                <a:gd name="connsiteX2" fmla="*/ 146898 w 201695"/>
                <a:gd name="connsiteY2" fmla="*/ 208587 h 342590"/>
                <a:gd name="connsiteX3" fmla="*/ 103607 w 201695"/>
                <a:gd name="connsiteY3" fmla="*/ 151487 h 342590"/>
                <a:gd name="connsiteX4" fmla="*/ 54797 w 201695"/>
                <a:gd name="connsiteY4" fmla="*/ 208135 h 342590"/>
                <a:gd name="connsiteX5" fmla="*/ 54797 w 201695"/>
                <a:gd name="connsiteY5" fmla="*/ 342590 h 342590"/>
                <a:gd name="connsiteX6" fmla="*/ 0 w 201695"/>
                <a:gd name="connsiteY6" fmla="*/ 342590 h 342590"/>
                <a:gd name="connsiteX7" fmla="*/ 0 w 201695"/>
                <a:gd name="connsiteY7" fmla="*/ 13808 h 342590"/>
                <a:gd name="connsiteX8" fmla="*/ 54797 w 201695"/>
                <a:gd name="connsiteY8" fmla="*/ 0 h 342590"/>
                <a:gd name="connsiteX9" fmla="*/ 54797 w 201695"/>
                <a:gd name="connsiteY9" fmla="*/ 136298 h 342590"/>
                <a:gd name="connsiteX10" fmla="*/ 55718 w 201695"/>
                <a:gd name="connsiteY10" fmla="*/ 136298 h 342590"/>
                <a:gd name="connsiteX11" fmla="*/ 124323 w 201695"/>
                <a:gd name="connsiteY11" fmla="*/ 102225 h 342590"/>
                <a:gd name="connsiteX12" fmla="*/ 201687 w 201695"/>
                <a:gd name="connsiteY12" fmla="*/ 197082 h 342590"/>
                <a:gd name="connsiteX13" fmla="*/ 201687 w 201695"/>
                <a:gd name="connsiteY13" fmla="*/ 342590 h 34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0">
                  <a:moveTo>
                    <a:pt x="201695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297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0"/>
                  </a:lnTo>
                  <a:lnTo>
                    <a:pt x="0" y="342590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" name="Freihandform: Form 222">
              <a:extLst>
                <a:ext uri="{FF2B5EF4-FFF2-40B4-BE49-F238E27FC236}">
                  <a16:creationId xmlns:a16="http://schemas.microsoft.com/office/drawing/2014/main" id="{683125DA-11AA-694D-9234-4F0C9EFD8683}"/>
                </a:ext>
              </a:extLst>
            </p:cNvPr>
            <p:cNvSpPr/>
            <p:nvPr/>
          </p:nvSpPr>
          <p:spPr>
            <a:xfrm>
              <a:off x="5933312" y="2109603"/>
              <a:ext cx="115120" cy="52033"/>
            </a:xfrm>
            <a:custGeom>
              <a:avLst/>
              <a:gdLst>
                <a:gd name="connsiteX0" fmla="*/ 115121 w 115120"/>
                <a:gd name="connsiteY0" fmla="*/ 52034 h 52033"/>
                <a:gd name="connsiteX1" fmla="*/ 0 w 115120"/>
                <a:gd name="connsiteY1" fmla="*/ 52034 h 52033"/>
                <a:gd name="connsiteX2" fmla="*/ 0 w 115120"/>
                <a:gd name="connsiteY2" fmla="*/ 0 h 52033"/>
                <a:gd name="connsiteX3" fmla="*/ 115121 w 115120"/>
                <a:gd name="connsiteY3" fmla="*/ 0 h 52033"/>
                <a:gd name="connsiteX4" fmla="*/ 115121 w 115120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20" h="52033">
                  <a:moveTo>
                    <a:pt x="115121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1" y="0"/>
                  </a:lnTo>
                  <a:lnTo>
                    <a:pt x="115121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ihandform: Form 223">
              <a:extLst>
                <a:ext uri="{FF2B5EF4-FFF2-40B4-BE49-F238E27FC236}">
                  <a16:creationId xmlns:a16="http://schemas.microsoft.com/office/drawing/2014/main" id="{B0535351-0DD8-D847-A81E-D438200F9F56}"/>
                </a:ext>
              </a:extLst>
            </p:cNvPr>
            <p:cNvSpPr/>
            <p:nvPr/>
          </p:nvSpPr>
          <p:spPr>
            <a:xfrm>
              <a:off x="6076636" y="1955336"/>
              <a:ext cx="302078" cy="324184"/>
            </a:xfrm>
            <a:custGeom>
              <a:avLst/>
              <a:gdLst>
                <a:gd name="connsiteX0" fmla="*/ 120647 w 302078"/>
                <a:gd name="connsiteY0" fmla="*/ 0 h 324184"/>
                <a:gd name="connsiteX1" fmla="*/ 181431 w 302078"/>
                <a:gd name="connsiteY1" fmla="*/ 0 h 324184"/>
                <a:gd name="connsiteX2" fmla="*/ 302079 w 302078"/>
                <a:gd name="connsiteY2" fmla="*/ 324185 h 324184"/>
                <a:gd name="connsiteX3" fmla="*/ 238991 w 302078"/>
                <a:gd name="connsiteY3" fmla="*/ 324185 h 324184"/>
                <a:gd name="connsiteX4" fmla="*/ 215503 w 302078"/>
                <a:gd name="connsiteY4" fmla="*/ 255111 h 324184"/>
                <a:gd name="connsiteX5" fmla="*/ 84732 w 302078"/>
                <a:gd name="connsiteY5" fmla="*/ 255111 h 324184"/>
                <a:gd name="connsiteX6" fmla="*/ 61244 w 302078"/>
                <a:gd name="connsiteY6" fmla="*/ 324185 h 324184"/>
                <a:gd name="connsiteX7" fmla="*/ 0 w 302078"/>
                <a:gd name="connsiteY7" fmla="*/ 324185 h 324184"/>
                <a:gd name="connsiteX8" fmla="*/ 120647 w 302078"/>
                <a:gd name="connsiteY8" fmla="*/ 0 h 324184"/>
                <a:gd name="connsiteX9" fmla="*/ 102686 w 302078"/>
                <a:gd name="connsiteY9" fmla="*/ 203538 h 324184"/>
                <a:gd name="connsiteX10" fmla="*/ 197542 w 302078"/>
                <a:gd name="connsiteY10" fmla="*/ 203538 h 324184"/>
                <a:gd name="connsiteX11" fmla="*/ 150575 w 302078"/>
                <a:gd name="connsiteY11" fmla="*/ 65859 h 324184"/>
                <a:gd name="connsiteX12" fmla="*/ 149654 w 302078"/>
                <a:gd name="connsiteY12" fmla="*/ 65859 h 324184"/>
                <a:gd name="connsiteX13" fmla="*/ 102686 w 302078"/>
                <a:gd name="connsiteY13" fmla="*/ 203538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2078" h="324184">
                  <a:moveTo>
                    <a:pt x="120647" y="0"/>
                  </a:moveTo>
                  <a:lnTo>
                    <a:pt x="181431" y="0"/>
                  </a:lnTo>
                  <a:lnTo>
                    <a:pt x="302079" y="324185"/>
                  </a:lnTo>
                  <a:lnTo>
                    <a:pt x="238991" y="324185"/>
                  </a:lnTo>
                  <a:lnTo>
                    <a:pt x="215503" y="255111"/>
                  </a:lnTo>
                  <a:lnTo>
                    <a:pt x="84732" y="255111"/>
                  </a:lnTo>
                  <a:lnTo>
                    <a:pt x="61244" y="324185"/>
                  </a:lnTo>
                  <a:lnTo>
                    <a:pt x="0" y="324185"/>
                  </a:lnTo>
                  <a:lnTo>
                    <a:pt x="120647" y="0"/>
                  </a:lnTo>
                  <a:close/>
                  <a:moveTo>
                    <a:pt x="102686" y="203538"/>
                  </a:moveTo>
                  <a:lnTo>
                    <a:pt x="197542" y="203538"/>
                  </a:lnTo>
                  <a:lnTo>
                    <a:pt x="150575" y="65859"/>
                  </a:lnTo>
                  <a:lnTo>
                    <a:pt x="149654" y="65859"/>
                  </a:lnTo>
                  <a:lnTo>
                    <a:pt x="102686" y="2035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ihandform: Form 224">
              <a:extLst>
                <a:ext uri="{FF2B5EF4-FFF2-40B4-BE49-F238E27FC236}">
                  <a16:creationId xmlns:a16="http://schemas.microsoft.com/office/drawing/2014/main" id="{68DB16C0-1B4F-8A44-A787-1704117F6C05}"/>
                </a:ext>
              </a:extLst>
            </p:cNvPr>
            <p:cNvSpPr/>
            <p:nvPr/>
          </p:nvSpPr>
          <p:spPr>
            <a:xfrm>
              <a:off x="6426787" y="1937383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6" name="Freihandform: Form 225">
              <a:extLst>
                <a:ext uri="{FF2B5EF4-FFF2-40B4-BE49-F238E27FC236}">
                  <a16:creationId xmlns:a16="http://schemas.microsoft.com/office/drawing/2014/main" id="{656F1295-1E0B-5B49-B971-DBDF3083AA3A}"/>
                </a:ext>
              </a:extLst>
            </p:cNvPr>
            <p:cNvSpPr/>
            <p:nvPr/>
          </p:nvSpPr>
          <p:spPr>
            <a:xfrm>
              <a:off x="6541003" y="2039148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0 w 214130"/>
                <a:gd name="connsiteY3" fmla="*/ 119266 h 245899"/>
                <a:gd name="connsiteX4" fmla="*/ 213209 w 214130"/>
                <a:gd name="connsiteY4" fmla="*/ 141824 h 245899"/>
                <a:gd name="connsiteX5" fmla="*/ 55726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6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0" y="46968"/>
                    <a:pt x="214130" y="119266"/>
                  </a:cubicBezTo>
                  <a:cubicBezTo>
                    <a:pt x="214130" y="127095"/>
                    <a:pt x="213670" y="135385"/>
                    <a:pt x="213209" y="141824"/>
                  </a:cubicBezTo>
                  <a:lnTo>
                    <a:pt x="55726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31" y="233465"/>
                    <a:pt x="151487" y="245900"/>
                    <a:pt x="116033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72" y="65850"/>
                    <a:pt x="139990" y="45126"/>
                    <a:pt x="109134" y="45126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7" name="Freihandform: Form 226">
              <a:extLst>
                <a:ext uri="{FF2B5EF4-FFF2-40B4-BE49-F238E27FC236}">
                  <a16:creationId xmlns:a16="http://schemas.microsoft.com/office/drawing/2014/main" id="{A485CFF1-1C69-3E4C-B626-FEFD5E39BC3B}"/>
                </a:ext>
              </a:extLst>
            </p:cNvPr>
            <p:cNvSpPr/>
            <p:nvPr/>
          </p:nvSpPr>
          <p:spPr>
            <a:xfrm>
              <a:off x="6784224" y="2045127"/>
              <a:ext cx="224245" cy="234394"/>
            </a:xfrm>
            <a:custGeom>
              <a:avLst/>
              <a:gdLst>
                <a:gd name="connsiteX0" fmla="*/ 224245 w 224245"/>
                <a:gd name="connsiteY0" fmla="*/ 234395 h 234394"/>
                <a:gd name="connsiteX1" fmla="*/ 161619 w 224245"/>
                <a:gd name="connsiteY1" fmla="*/ 234395 h 234394"/>
                <a:gd name="connsiteX2" fmla="*/ 111427 w 224245"/>
                <a:gd name="connsiteY2" fmla="*/ 153346 h 234394"/>
                <a:gd name="connsiteX3" fmla="*/ 110515 w 224245"/>
                <a:gd name="connsiteY3" fmla="*/ 153346 h 234394"/>
                <a:gd name="connsiteX4" fmla="*/ 61697 w 224245"/>
                <a:gd name="connsiteY4" fmla="*/ 234395 h 234394"/>
                <a:gd name="connsiteX5" fmla="*/ 0 w 224245"/>
                <a:gd name="connsiteY5" fmla="*/ 234395 h 234394"/>
                <a:gd name="connsiteX6" fmla="*/ 80119 w 224245"/>
                <a:gd name="connsiteY6" fmla="*/ 112826 h 234394"/>
                <a:gd name="connsiteX7" fmla="*/ 5979 w 224245"/>
                <a:gd name="connsiteY7" fmla="*/ 0 h 234394"/>
                <a:gd name="connsiteX8" fmla="*/ 67684 w 224245"/>
                <a:gd name="connsiteY8" fmla="*/ 0 h 234394"/>
                <a:gd name="connsiteX9" fmla="*/ 111888 w 224245"/>
                <a:gd name="connsiteY9" fmla="*/ 71837 h 234394"/>
                <a:gd name="connsiteX10" fmla="*/ 112801 w 224245"/>
                <a:gd name="connsiteY10" fmla="*/ 71837 h 234394"/>
                <a:gd name="connsiteX11" fmla="*/ 156553 w 224245"/>
                <a:gd name="connsiteY11" fmla="*/ 0 h 234394"/>
                <a:gd name="connsiteX12" fmla="*/ 217337 w 224245"/>
                <a:gd name="connsiteY12" fmla="*/ 0 h 234394"/>
                <a:gd name="connsiteX13" fmla="*/ 143657 w 224245"/>
                <a:gd name="connsiteY13" fmla="*/ 111897 h 234394"/>
                <a:gd name="connsiteX14" fmla="*/ 224245 w 224245"/>
                <a:gd name="connsiteY14" fmla="*/ 234395 h 2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4245" h="234394">
                  <a:moveTo>
                    <a:pt x="224245" y="234395"/>
                  </a:moveTo>
                  <a:lnTo>
                    <a:pt x="161619" y="234395"/>
                  </a:lnTo>
                  <a:lnTo>
                    <a:pt x="111427" y="153346"/>
                  </a:lnTo>
                  <a:lnTo>
                    <a:pt x="110515" y="153346"/>
                  </a:lnTo>
                  <a:lnTo>
                    <a:pt x="61697" y="234395"/>
                  </a:lnTo>
                  <a:lnTo>
                    <a:pt x="0" y="234395"/>
                  </a:lnTo>
                  <a:lnTo>
                    <a:pt x="80119" y="112826"/>
                  </a:lnTo>
                  <a:lnTo>
                    <a:pt x="5979" y="0"/>
                  </a:lnTo>
                  <a:lnTo>
                    <a:pt x="67684" y="0"/>
                  </a:lnTo>
                  <a:lnTo>
                    <a:pt x="111888" y="71837"/>
                  </a:lnTo>
                  <a:lnTo>
                    <a:pt x="112801" y="71837"/>
                  </a:lnTo>
                  <a:lnTo>
                    <a:pt x="156553" y="0"/>
                  </a:lnTo>
                  <a:lnTo>
                    <a:pt x="217337" y="0"/>
                  </a:lnTo>
                  <a:lnTo>
                    <a:pt x="143657" y="111897"/>
                  </a:lnTo>
                  <a:lnTo>
                    <a:pt x="224245" y="234395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8" name="Freihandform: Form 227">
              <a:extLst>
                <a:ext uri="{FF2B5EF4-FFF2-40B4-BE49-F238E27FC236}">
                  <a16:creationId xmlns:a16="http://schemas.microsoft.com/office/drawing/2014/main" id="{F1E90169-E8AA-A447-A1B0-429B0DBB0E6F}"/>
                </a:ext>
              </a:extLst>
            </p:cNvPr>
            <p:cNvSpPr/>
            <p:nvPr/>
          </p:nvSpPr>
          <p:spPr>
            <a:xfrm>
              <a:off x="7037149" y="2039148"/>
              <a:ext cx="198924" cy="245899"/>
            </a:xfrm>
            <a:custGeom>
              <a:avLst/>
              <a:gdLst>
                <a:gd name="connsiteX0" fmla="*/ 100835 w 198924"/>
                <a:gd name="connsiteY0" fmla="*/ 94856 h 245899"/>
                <a:gd name="connsiteX1" fmla="*/ 145039 w 198924"/>
                <a:gd name="connsiteY1" fmla="*/ 99922 h 245899"/>
                <a:gd name="connsiteX2" fmla="*/ 145039 w 198924"/>
                <a:gd name="connsiteY2" fmla="*/ 91633 h 245899"/>
                <a:gd name="connsiteX3" fmla="*/ 93466 w 198924"/>
                <a:gd name="connsiteY3" fmla="*/ 46047 h 245899"/>
                <a:gd name="connsiteX4" fmla="*/ 34064 w 198924"/>
                <a:gd name="connsiteY4" fmla="*/ 59402 h 245899"/>
                <a:gd name="connsiteX5" fmla="*/ 22090 w 198924"/>
                <a:gd name="connsiteY5" fmla="*/ 13356 h 245899"/>
                <a:gd name="connsiteX6" fmla="*/ 98993 w 198924"/>
                <a:gd name="connsiteY6" fmla="*/ 0 h 245899"/>
                <a:gd name="connsiteX7" fmla="*/ 198924 w 198924"/>
                <a:gd name="connsiteY7" fmla="*/ 90712 h 245899"/>
                <a:gd name="connsiteX8" fmla="*/ 198924 w 198924"/>
                <a:gd name="connsiteY8" fmla="*/ 240373 h 245899"/>
                <a:gd name="connsiteX9" fmla="*/ 146882 w 198924"/>
                <a:gd name="connsiteY9" fmla="*/ 240373 h 245899"/>
                <a:gd name="connsiteX10" fmla="*/ 146882 w 198924"/>
                <a:gd name="connsiteY10" fmla="*/ 215504 h 245899"/>
                <a:gd name="connsiteX11" fmla="*/ 145969 w 198924"/>
                <a:gd name="connsiteY11" fmla="*/ 215504 h 245899"/>
                <a:gd name="connsiteX12" fmla="*/ 77356 w 198924"/>
                <a:gd name="connsiteY12" fmla="*/ 245900 h 245899"/>
                <a:gd name="connsiteX13" fmla="*/ 0 w 198924"/>
                <a:gd name="connsiteY13" fmla="*/ 171299 h 245899"/>
                <a:gd name="connsiteX14" fmla="*/ 100835 w 198924"/>
                <a:gd name="connsiteY14" fmla="*/ 94856 h 245899"/>
                <a:gd name="connsiteX15" fmla="*/ 91624 w 198924"/>
                <a:gd name="connsiteY15" fmla="*/ 204919 h 245899"/>
                <a:gd name="connsiteX16" fmla="*/ 145039 w 198924"/>
                <a:gd name="connsiteY16" fmla="*/ 176834 h 245899"/>
                <a:gd name="connsiteX17" fmla="*/ 145039 w 198924"/>
                <a:gd name="connsiteY17" fmla="*/ 135845 h 245899"/>
                <a:gd name="connsiteX18" fmla="*/ 106823 w 198924"/>
                <a:gd name="connsiteY18" fmla="*/ 131240 h 245899"/>
                <a:gd name="connsiteX19" fmla="*/ 52486 w 198924"/>
                <a:gd name="connsiteY19" fmla="*/ 169918 h 245899"/>
                <a:gd name="connsiteX20" fmla="*/ 91624 w 198924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4" h="245899">
                  <a:moveTo>
                    <a:pt x="100835" y="94856"/>
                  </a:moveTo>
                  <a:cubicBezTo>
                    <a:pt x="116025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2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46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0" y="204919"/>
                    <a:pt x="129842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9" y="131240"/>
                    <a:pt x="106823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8" y="191563"/>
                    <a:pt x="67684" y="204919"/>
                    <a:pt x="91624" y="204919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228">
              <a:extLst>
                <a:ext uri="{FF2B5EF4-FFF2-40B4-BE49-F238E27FC236}">
                  <a16:creationId xmlns:a16="http://schemas.microsoft.com/office/drawing/2014/main" id="{8FAEB966-F243-A346-A62E-37414532C60F}"/>
                </a:ext>
              </a:extLst>
            </p:cNvPr>
            <p:cNvSpPr/>
            <p:nvPr/>
          </p:nvSpPr>
          <p:spPr>
            <a:xfrm>
              <a:off x="7305540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0 w 201695"/>
                <a:gd name="connsiteY1" fmla="*/ 240373 h 240373"/>
                <a:gd name="connsiteX2" fmla="*/ 146890 w 201695"/>
                <a:gd name="connsiteY2" fmla="*/ 106370 h 240373"/>
                <a:gd name="connsiteX3" fmla="*/ 103607 w 201695"/>
                <a:gd name="connsiteY3" fmla="*/ 49270 h 240373"/>
                <a:gd name="connsiteX4" fmla="*/ 54797 w 201695"/>
                <a:gd name="connsiteY4" fmla="*/ 105918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0" y="240373"/>
                  </a:lnTo>
                  <a:lnTo>
                    <a:pt x="146890" y="106370"/>
                  </a:lnTo>
                  <a:cubicBezTo>
                    <a:pt x="146890" y="72298"/>
                    <a:pt x="136767" y="49270"/>
                    <a:pt x="103607" y="49270"/>
                  </a:cubicBezTo>
                  <a:cubicBezTo>
                    <a:pt x="65390" y="49270"/>
                    <a:pt x="54797" y="80588"/>
                    <a:pt x="54797" y="105918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0" name="Freihandform: Form 229">
              <a:extLst>
                <a:ext uri="{FF2B5EF4-FFF2-40B4-BE49-F238E27FC236}">
                  <a16:creationId xmlns:a16="http://schemas.microsoft.com/office/drawing/2014/main" id="{5E22E732-045A-8643-8330-C6DFE927D380}"/>
                </a:ext>
              </a:extLst>
            </p:cNvPr>
            <p:cNvSpPr/>
            <p:nvPr/>
          </p:nvSpPr>
          <p:spPr>
            <a:xfrm>
              <a:off x="7565198" y="1936931"/>
              <a:ext cx="219195" cy="348116"/>
            </a:xfrm>
            <a:custGeom>
              <a:avLst/>
              <a:gdLst>
                <a:gd name="connsiteX0" fmla="*/ 0 w 219195"/>
                <a:gd name="connsiteY0" fmla="*/ 224706 h 348116"/>
                <a:gd name="connsiteX1" fmla="*/ 95325 w 219195"/>
                <a:gd name="connsiteY1" fmla="*/ 102217 h 348116"/>
                <a:gd name="connsiteX2" fmla="*/ 163478 w 219195"/>
                <a:gd name="connsiteY2" fmla="*/ 133986 h 348116"/>
                <a:gd name="connsiteX3" fmla="*/ 164399 w 219195"/>
                <a:gd name="connsiteY3" fmla="*/ 133986 h 348116"/>
                <a:gd name="connsiteX4" fmla="*/ 164399 w 219195"/>
                <a:gd name="connsiteY4" fmla="*/ 13808 h 348116"/>
                <a:gd name="connsiteX5" fmla="*/ 219196 w 219195"/>
                <a:gd name="connsiteY5" fmla="*/ 0 h 348116"/>
                <a:gd name="connsiteX6" fmla="*/ 219196 w 219195"/>
                <a:gd name="connsiteY6" fmla="*/ 342590 h 348116"/>
                <a:gd name="connsiteX7" fmla="*/ 165781 w 219195"/>
                <a:gd name="connsiteY7" fmla="*/ 342590 h 348116"/>
                <a:gd name="connsiteX8" fmla="*/ 165781 w 219195"/>
                <a:gd name="connsiteY8" fmla="*/ 314957 h 348116"/>
                <a:gd name="connsiteX9" fmla="*/ 164859 w 219195"/>
                <a:gd name="connsiteY9" fmla="*/ 314957 h 348116"/>
                <a:gd name="connsiteX10" fmla="*/ 94404 w 219195"/>
                <a:gd name="connsiteY10" fmla="*/ 348117 h 348116"/>
                <a:gd name="connsiteX11" fmla="*/ 0 w 219195"/>
                <a:gd name="connsiteY11" fmla="*/ 224706 h 348116"/>
                <a:gd name="connsiteX12" fmla="*/ 54336 w 219195"/>
                <a:gd name="connsiteY12" fmla="*/ 224706 h 348116"/>
                <a:gd name="connsiteX13" fmla="*/ 108673 w 219195"/>
                <a:gd name="connsiteY13" fmla="*/ 299767 h 348116"/>
                <a:gd name="connsiteX14" fmla="*/ 164391 w 219195"/>
                <a:gd name="connsiteY14" fmla="*/ 268911 h 348116"/>
                <a:gd name="connsiteX15" fmla="*/ 164391 w 219195"/>
                <a:gd name="connsiteY15" fmla="*/ 183265 h 348116"/>
                <a:gd name="connsiteX16" fmla="*/ 108673 w 219195"/>
                <a:gd name="connsiteY16" fmla="*/ 151956 h 348116"/>
                <a:gd name="connsiteX17" fmla="*/ 54336 w 219195"/>
                <a:gd name="connsiteY17" fmla="*/ 224706 h 3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5" h="348116">
                  <a:moveTo>
                    <a:pt x="0" y="224706"/>
                  </a:moveTo>
                  <a:cubicBezTo>
                    <a:pt x="0" y="149185"/>
                    <a:pt x="38217" y="102217"/>
                    <a:pt x="95325" y="102217"/>
                  </a:cubicBezTo>
                  <a:cubicBezTo>
                    <a:pt x="124800" y="102217"/>
                    <a:pt x="147828" y="114643"/>
                    <a:pt x="163478" y="133986"/>
                  </a:cubicBezTo>
                  <a:lnTo>
                    <a:pt x="164399" y="133986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0"/>
                  </a:lnTo>
                  <a:lnTo>
                    <a:pt x="165781" y="342590"/>
                  </a:lnTo>
                  <a:lnTo>
                    <a:pt x="165781" y="314957"/>
                  </a:lnTo>
                  <a:lnTo>
                    <a:pt x="164859" y="314957"/>
                  </a:lnTo>
                  <a:cubicBezTo>
                    <a:pt x="147828" y="335682"/>
                    <a:pt x="123418" y="348117"/>
                    <a:pt x="94404" y="348117"/>
                  </a:cubicBezTo>
                  <a:cubicBezTo>
                    <a:pt x="38686" y="348117"/>
                    <a:pt x="0" y="300689"/>
                    <a:pt x="0" y="224706"/>
                  </a:cubicBezTo>
                  <a:close/>
                  <a:moveTo>
                    <a:pt x="54336" y="224706"/>
                  </a:moveTo>
                  <a:cubicBezTo>
                    <a:pt x="54336" y="272595"/>
                    <a:pt x="74140" y="299767"/>
                    <a:pt x="108673" y="299767"/>
                  </a:cubicBezTo>
                  <a:cubicBezTo>
                    <a:pt x="129850" y="299767"/>
                    <a:pt x="147351" y="289635"/>
                    <a:pt x="164391" y="268911"/>
                  </a:cubicBezTo>
                  <a:lnTo>
                    <a:pt x="164391" y="183265"/>
                  </a:lnTo>
                  <a:cubicBezTo>
                    <a:pt x="148733" y="162088"/>
                    <a:pt x="130771" y="151956"/>
                    <a:pt x="108673" y="151956"/>
                  </a:cubicBezTo>
                  <a:cubicBezTo>
                    <a:pt x="73219" y="151956"/>
                    <a:pt x="54336" y="177739"/>
                    <a:pt x="54336" y="224706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1" name="Freihandform: Form 230">
              <a:extLst>
                <a:ext uri="{FF2B5EF4-FFF2-40B4-BE49-F238E27FC236}">
                  <a16:creationId xmlns:a16="http://schemas.microsoft.com/office/drawing/2014/main" id="{0BD6CEA8-7F66-E442-AF6E-9892F710FEB4}"/>
                </a:ext>
              </a:extLst>
            </p:cNvPr>
            <p:cNvSpPr/>
            <p:nvPr/>
          </p:nvSpPr>
          <p:spPr>
            <a:xfrm>
              <a:off x="7843881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89 w 214130"/>
                <a:gd name="connsiteY10" fmla="*/ 101765 h 245899"/>
                <a:gd name="connsiteX11" fmla="*/ 161160 w 214130"/>
                <a:gd name="connsiteY11" fmla="*/ 101765 h 245899"/>
                <a:gd name="connsiteX12" fmla="*/ 109125 w 214130"/>
                <a:gd name="connsiteY12" fmla="*/ 45126 h 245899"/>
                <a:gd name="connsiteX13" fmla="*/ 54789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8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23" y="233465"/>
                    <a:pt x="151496" y="245900"/>
                    <a:pt x="116034" y="245900"/>
                  </a:cubicBezTo>
                  <a:close/>
                  <a:moveTo>
                    <a:pt x="54789" y="101765"/>
                  </a:moveTo>
                  <a:lnTo>
                    <a:pt x="161160" y="101765"/>
                  </a:lnTo>
                  <a:cubicBezTo>
                    <a:pt x="158857" y="65850"/>
                    <a:pt x="139982" y="45126"/>
                    <a:pt x="109125" y="45126"/>
                  </a:cubicBezTo>
                  <a:cubicBezTo>
                    <a:pt x="78738" y="45134"/>
                    <a:pt x="59394" y="65390"/>
                    <a:pt x="54789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2" name="Freihandform: Form 231">
              <a:extLst>
                <a:ext uri="{FF2B5EF4-FFF2-40B4-BE49-F238E27FC236}">
                  <a16:creationId xmlns:a16="http://schemas.microsoft.com/office/drawing/2014/main" id="{329309F8-12B5-A441-AB69-0BA8B4BF886B}"/>
                </a:ext>
              </a:extLst>
            </p:cNvPr>
            <p:cNvSpPr/>
            <p:nvPr/>
          </p:nvSpPr>
          <p:spPr>
            <a:xfrm>
              <a:off x="8117849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86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6 w 141832"/>
                <a:gd name="connsiteY7" fmla="*/ 5979 h 240364"/>
                <a:gd name="connsiteX8" fmla="*/ 53876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801" y="56631"/>
                    <a:pt x="114668" y="53868"/>
                    <a:pt x="102686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8" y="35454"/>
                  </a:lnTo>
                  <a:cubicBezTo>
                    <a:pt x="67224" y="13348"/>
                    <a:pt x="89330" y="0"/>
                    <a:pt x="116042" y="0"/>
                  </a:cubicBezTo>
                  <a:cubicBezTo>
                    <a:pt x="123871" y="-8"/>
                    <a:pt x="133534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3" name="Freihandform: Form 232">
              <a:extLst>
                <a:ext uri="{FF2B5EF4-FFF2-40B4-BE49-F238E27FC236}">
                  <a16:creationId xmlns:a16="http://schemas.microsoft.com/office/drawing/2014/main" id="{48873B97-8E1A-8244-875E-2CF774CB313A}"/>
                </a:ext>
              </a:extLst>
            </p:cNvPr>
            <p:cNvSpPr/>
            <p:nvPr/>
          </p:nvSpPr>
          <p:spPr>
            <a:xfrm>
              <a:off x="8293771" y="2109603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4" name="Freihandform: Form 233">
              <a:extLst>
                <a:ext uri="{FF2B5EF4-FFF2-40B4-BE49-F238E27FC236}">
                  <a16:creationId xmlns:a16="http://schemas.microsoft.com/office/drawing/2014/main" id="{32FD167B-F8F7-6C4A-8A51-3D5D46863CFB}"/>
                </a:ext>
              </a:extLst>
            </p:cNvPr>
            <p:cNvSpPr/>
            <p:nvPr/>
          </p:nvSpPr>
          <p:spPr>
            <a:xfrm>
              <a:off x="8478811" y="1955336"/>
              <a:ext cx="253268" cy="329711"/>
            </a:xfrm>
            <a:custGeom>
              <a:avLst/>
              <a:gdLst>
                <a:gd name="connsiteX0" fmla="*/ 253268 w 253268"/>
                <a:gd name="connsiteY0" fmla="*/ 195708 h 329711"/>
                <a:gd name="connsiteX1" fmla="*/ 126174 w 253268"/>
                <a:gd name="connsiteY1" fmla="*/ 329712 h 329711"/>
                <a:gd name="connsiteX2" fmla="*/ 0 w 253268"/>
                <a:gd name="connsiteY2" fmla="*/ 195708 h 329711"/>
                <a:gd name="connsiteX3" fmla="*/ 0 w 253268"/>
                <a:gd name="connsiteY3" fmla="*/ 0 h 329711"/>
                <a:gd name="connsiteX4" fmla="*/ 58941 w 253268"/>
                <a:gd name="connsiteY4" fmla="*/ 0 h 329711"/>
                <a:gd name="connsiteX5" fmla="*/ 58941 w 253268"/>
                <a:gd name="connsiteY5" fmla="*/ 192485 h 329711"/>
                <a:gd name="connsiteX6" fmla="*/ 128016 w 253268"/>
                <a:gd name="connsiteY6" fmla="*/ 274446 h 329711"/>
                <a:gd name="connsiteX7" fmla="*/ 194795 w 253268"/>
                <a:gd name="connsiteY7" fmla="*/ 192485 h 329711"/>
                <a:gd name="connsiteX8" fmla="*/ 194795 w 253268"/>
                <a:gd name="connsiteY8" fmla="*/ 0 h 329711"/>
                <a:gd name="connsiteX9" fmla="*/ 253268 w 253268"/>
                <a:gd name="connsiteY9" fmla="*/ 0 h 329711"/>
                <a:gd name="connsiteX10" fmla="*/ 253268 w 253268"/>
                <a:gd name="connsiteY10" fmla="*/ 195708 h 32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268" h="329711">
                  <a:moveTo>
                    <a:pt x="253268" y="195708"/>
                  </a:moveTo>
                  <a:cubicBezTo>
                    <a:pt x="253268" y="273993"/>
                    <a:pt x="213209" y="329712"/>
                    <a:pt x="126174" y="329712"/>
                  </a:cubicBezTo>
                  <a:cubicBezTo>
                    <a:pt x="39599" y="329712"/>
                    <a:pt x="0" y="274446"/>
                    <a:pt x="0" y="195708"/>
                  </a:cubicBezTo>
                  <a:lnTo>
                    <a:pt x="0" y="0"/>
                  </a:lnTo>
                  <a:lnTo>
                    <a:pt x="58941" y="0"/>
                  </a:lnTo>
                  <a:lnTo>
                    <a:pt x="58941" y="192485"/>
                  </a:lnTo>
                  <a:cubicBezTo>
                    <a:pt x="58941" y="241294"/>
                    <a:pt x="80127" y="274446"/>
                    <a:pt x="128016" y="274446"/>
                  </a:cubicBezTo>
                  <a:cubicBezTo>
                    <a:pt x="175913" y="274446"/>
                    <a:pt x="194795" y="241755"/>
                    <a:pt x="194795" y="192485"/>
                  </a:cubicBezTo>
                  <a:lnTo>
                    <a:pt x="194795" y="0"/>
                  </a:lnTo>
                  <a:lnTo>
                    <a:pt x="253268" y="0"/>
                  </a:lnTo>
                  <a:lnTo>
                    <a:pt x="253268" y="195708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5" name="Freihandform: Form 234">
              <a:extLst>
                <a:ext uri="{FF2B5EF4-FFF2-40B4-BE49-F238E27FC236}">
                  <a16:creationId xmlns:a16="http://schemas.microsoft.com/office/drawing/2014/main" id="{10F88329-92DE-934D-95C4-E98DA00CDDAB}"/>
                </a:ext>
              </a:extLst>
            </p:cNvPr>
            <p:cNvSpPr/>
            <p:nvPr/>
          </p:nvSpPr>
          <p:spPr>
            <a:xfrm>
              <a:off x="8804838" y="2039148"/>
              <a:ext cx="201695" cy="240373"/>
            </a:xfrm>
            <a:custGeom>
              <a:avLst/>
              <a:gdLst>
                <a:gd name="connsiteX0" fmla="*/ 201696 w 201695"/>
                <a:gd name="connsiteY0" fmla="*/ 240373 h 240373"/>
                <a:gd name="connsiteX1" fmla="*/ 146898 w 201695"/>
                <a:gd name="connsiteY1" fmla="*/ 240373 h 240373"/>
                <a:gd name="connsiteX2" fmla="*/ 146898 w 201695"/>
                <a:gd name="connsiteY2" fmla="*/ 106370 h 240373"/>
                <a:gd name="connsiteX3" fmla="*/ 103607 w 201695"/>
                <a:gd name="connsiteY3" fmla="*/ 49270 h 240373"/>
                <a:gd name="connsiteX4" fmla="*/ 54798 w 201695"/>
                <a:gd name="connsiteY4" fmla="*/ 105918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73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73"/>
                  </a:moveTo>
                  <a:lnTo>
                    <a:pt x="146898" y="240373"/>
                  </a:lnTo>
                  <a:lnTo>
                    <a:pt x="146898" y="106370"/>
                  </a:lnTo>
                  <a:cubicBezTo>
                    <a:pt x="146898" y="72298"/>
                    <a:pt x="136767" y="49270"/>
                    <a:pt x="103607" y="49270"/>
                  </a:cubicBezTo>
                  <a:cubicBezTo>
                    <a:pt x="65390" y="49270"/>
                    <a:pt x="54798" y="80588"/>
                    <a:pt x="54798" y="105918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7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6" name="Freihandform: Form 235">
              <a:extLst>
                <a:ext uri="{FF2B5EF4-FFF2-40B4-BE49-F238E27FC236}">
                  <a16:creationId xmlns:a16="http://schemas.microsoft.com/office/drawing/2014/main" id="{1CC0DBBC-A5C7-264A-9CD7-4974E83F8E5F}"/>
                </a:ext>
              </a:extLst>
            </p:cNvPr>
            <p:cNvSpPr/>
            <p:nvPr/>
          </p:nvSpPr>
          <p:spPr>
            <a:xfrm>
              <a:off x="9068273" y="1941059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2 w 69534"/>
                <a:gd name="connsiteY1" fmla="*/ 66311 h 338461"/>
                <a:gd name="connsiteX2" fmla="*/ 0 w 69534"/>
                <a:gd name="connsiteY2" fmla="*/ 33160 h 338461"/>
                <a:gd name="connsiteX3" fmla="*/ 34532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2" y="66311"/>
                  </a:cubicBezTo>
                  <a:cubicBezTo>
                    <a:pt x="15649" y="66311"/>
                    <a:pt x="0" y="52503"/>
                    <a:pt x="0" y="33160"/>
                  </a:cubicBezTo>
                  <a:cubicBezTo>
                    <a:pt x="0" y="14277"/>
                    <a:pt x="15649" y="0"/>
                    <a:pt x="34532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7" name="Freihandform: Form 236">
              <a:extLst>
                <a:ext uri="{FF2B5EF4-FFF2-40B4-BE49-F238E27FC236}">
                  <a16:creationId xmlns:a16="http://schemas.microsoft.com/office/drawing/2014/main" id="{EB794457-22A1-BE4C-B475-9F7A68694BE7}"/>
                </a:ext>
              </a:extLst>
            </p:cNvPr>
            <p:cNvSpPr/>
            <p:nvPr/>
          </p:nvSpPr>
          <p:spPr>
            <a:xfrm>
              <a:off x="9176921" y="2045135"/>
              <a:ext cx="227478" cy="234386"/>
            </a:xfrm>
            <a:custGeom>
              <a:avLst/>
              <a:gdLst>
                <a:gd name="connsiteX0" fmla="*/ 227478 w 227478"/>
                <a:gd name="connsiteY0" fmla="*/ 0 h 234386"/>
                <a:gd name="connsiteX1" fmla="*/ 142284 w 227478"/>
                <a:gd name="connsiteY1" fmla="*/ 234386 h 234386"/>
                <a:gd name="connsiteX2" fmla="*/ 85185 w 227478"/>
                <a:gd name="connsiteY2" fmla="*/ 234386 h 234386"/>
                <a:gd name="connsiteX3" fmla="*/ 0 w 227478"/>
                <a:gd name="connsiteY3" fmla="*/ 0 h 234386"/>
                <a:gd name="connsiteX4" fmla="*/ 60323 w 227478"/>
                <a:gd name="connsiteY4" fmla="*/ 0 h 234386"/>
                <a:gd name="connsiteX5" fmla="*/ 114199 w 227478"/>
                <a:gd name="connsiteY5" fmla="*/ 170387 h 234386"/>
                <a:gd name="connsiteX6" fmla="*/ 115120 w 227478"/>
                <a:gd name="connsiteY6" fmla="*/ 170387 h 234386"/>
                <a:gd name="connsiteX7" fmla="*/ 168997 w 227478"/>
                <a:gd name="connsiteY7" fmla="*/ 0 h 234386"/>
                <a:gd name="connsiteX8" fmla="*/ 227478 w 227478"/>
                <a:gd name="connsiteY8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478" h="234386">
                  <a:moveTo>
                    <a:pt x="227478" y="0"/>
                  </a:moveTo>
                  <a:lnTo>
                    <a:pt x="142284" y="234386"/>
                  </a:lnTo>
                  <a:lnTo>
                    <a:pt x="85185" y="234386"/>
                  </a:lnTo>
                  <a:lnTo>
                    <a:pt x="0" y="0"/>
                  </a:lnTo>
                  <a:lnTo>
                    <a:pt x="60323" y="0"/>
                  </a:lnTo>
                  <a:lnTo>
                    <a:pt x="114199" y="170387"/>
                  </a:lnTo>
                  <a:lnTo>
                    <a:pt x="115120" y="170387"/>
                  </a:lnTo>
                  <a:lnTo>
                    <a:pt x="168997" y="0"/>
                  </a:lnTo>
                  <a:lnTo>
                    <a:pt x="227478" y="0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8" name="Freihandform: Form 237">
              <a:extLst>
                <a:ext uri="{FF2B5EF4-FFF2-40B4-BE49-F238E27FC236}">
                  <a16:creationId xmlns:a16="http://schemas.microsoft.com/office/drawing/2014/main" id="{B95D9230-C37B-2C4B-A3B2-A21D37E6F321}"/>
                </a:ext>
              </a:extLst>
            </p:cNvPr>
            <p:cNvSpPr/>
            <p:nvPr/>
          </p:nvSpPr>
          <p:spPr>
            <a:xfrm>
              <a:off x="9429904" y="2039148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27 w 214130"/>
                <a:gd name="connsiteY5" fmla="*/ 141824 h 245899"/>
                <a:gd name="connsiteX6" fmla="*/ 116511 w 214130"/>
                <a:gd name="connsiteY6" fmla="*/ 198924 h 245899"/>
                <a:gd name="connsiteX7" fmla="*/ 174072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8 w 214130"/>
                <a:gd name="connsiteY10" fmla="*/ 101765 h 245899"/>
                <a:gd name="connsiteX11" fmla="*/ 161168 w 214130"/>
                <a:gd name="connsiteY11" fmla="*/ 101765 h 245899"/>
                <a:gd name="connsiteX12" fmla="*/ 109134 w 214130"/>
                <a:gd name="connsiteY12" fmla="*/ 45126 h 245899"/>
                <a:gd name="connsiteX13" fmla="*/ 5479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500" y="245900"/>
                    <a:pt x="0" y="196621"/>
                    <a:pt x="0" y="122489"/>
                  </a:cubicBezTo>
                  <a:cubicBezTo>
                    <a:pt x="0" y="49739"/>
                    <a:pt x="44666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1" y="135385"/>
                    <a:pt x="213210" y="141824"/>
                  </a:cubicBezTo>
                  <a:lnTo>
                    <a:pt x="55727" y="141824"/>
                  </a:lnTo>
                  <a:cubicBezTo>
                    <a:pt x="61714" y="178208"/>
                    <a:pt x="83352" y="198924"/>
                    <a:pt x="116511" y="198924"/>
                  </a:cubicBezTo>
                  <a:cubicBezTo>
                    <a:pt x="138148" y="198924"/>
                    <a:pt x="155649" y="190634"/>
                    <a:pt x="174072" y="171291"/>
                  </a:cubicBezTo>
                  <a:lnTo>
                    <a:pt x="208144" y="207214"/>
                  </a:lnTo>
                  <a:cubicBezTo>
                    <a:pt x="181431" y="233465"/>
                    <a:pt x="151488" y="245900"/>
                    <a:pt x="116034" y="245900"/>
                  </a:cubicBezTo>
                  <a:close/>
                  <a:moveTo>
                    <a:pt x="54798" y="101765"/>
                  </a:moveTo>
                  <a:lnTo>
                    <a:pt x="161168" y="101765"/>
                  </a:lnTo>
                  <a:cubicBezTo>
                    <a:pt x="158873" y="65850"/>
                    <a:pt x="139990" y="45126"/>
                    <a:pt x="109134" y="45126"/>
                  </a:cubicBezTo>
                  <a:cubicBezTo>
                    <a:pt x="78738" y="45134"/>
                    <a:pt x="59394" y="65390"/>
                    <a:pt x="54798" y="10176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9" name="Freihandform: Form 238">
              <a:extLst>
                <a:ext uri="{FF2B5EF4-FFF2-40B4-BE49-F238E27FC236}">
                  <a16:creationId xmlns:a16="http://schemas.microsoft.com/office/drawing/2014/main" id="{DE0B70AE-FCF5-0C4D-B4C8-8088E78B45FA}"/>
                </a:ext>
              </a:extLst>
            </p:cNvPr>
            <p:cNvSpPr/>
            <p:nvPr/>
          </p:nvSpPr>
          <p:spPr>
            <a:xfrm>
              <a:off x="9703872" y="2039156"/>
              <a:ext cx="141832" cy="240364"/>
            </a:xfrm>
            <a:custGeom>
              <a:avLst/>
              <a:gdLst>
                <a:gd name="connsiteX0" fmla="*/ 141832 w 141832"/>
                <a:gd name="connsiteY0" fmla="*/ 5058 h 240364"/>
                <a:gd name="connsiteX1" fmla="*/ 133083 w 141832"/>
                <a:gd name="connsiteY1" fmla="*/ 61236 h 240364"/>
                <a:gd name="connsiteX2" fmla="*/ 102694 w 141832"/>
                <a:gd name="connsiteY2" fmla="*/ 53868 h 240364"/>
                <a:gd name="connsiteX3" fmla="*/ 54798 w 141832"/>
                <a:gd name="connsiteY3" fmla="*/ 120178 h 240364"/>
                <a:gd name="connsiteX4" fmla="*/ 54798 w 141832"/>
                <a:gd name="connsiteY4" fmla="*/ 240365 h 240364"/>
                <a:gd name="connsiteX5" fmla="*/ 0 w 141832"/>
                <a:gd name="connsiteY5" fmla="*/ 240365 h 240364"/>
                <a:gd name="connsiteX6" fmla="*/ 0 w 141832"/>
                <a:gd name="connsiteY6" fmla="*/ 5979 h 240364"/>
                <a:gd name="connsiteX7" fmla="*/ 53877 w 141832"/>
                <a:gd name="connsiteY7" fmla="*/ 5979 h 240364"/>
                <a:gd name="connsiteX8" fmla="*/ 53877 w 141832"/>
                <a:gd name="connsiteY8" fmla="*/ 35454 h 240364"/>
                <a:gd name="connsiteX9" fmla="*/ 54798 w 141832"/>
                <a:gd name="connsiteY9" fmla="*/ 35454 h 240364"/>
                <a:gd name="connsiteX10" fmla="*/ 116042 w 141832"/>
                <a:gd name="connsiteY10" fmla="*/ 0 h 240364"/>
                <a:gd name="connsiteX11" fmla="*/ 141832 w 141832"/>
                <a:gd name="connsiteY11" fmla="*/ 5058 h 2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4">
                  <a:moveTo>
                    <a:pt x="141832" y="5058"/>
                  </a:moveTo>
                  <a:lnTo>
                    <a:pt x="133083" y="61236"/>
                  </a:lnTo>
                  <a:cubicBezTo>
                    <a:pt x="124793" y="56631"/>
                    <a:pt x="114669" y="53868"/>
                    <a:pt x="102694" y="53868"/>
                  </a:cubicBezTo>
                  <a:cubicBezTo>
                    <a:pt x="64929" y="53868"/>
                    <a:pt x="54798" y="84264"/>
                    <a:pt x="54798" y="120178"/>
                  </a:cubicBezTo>
                  <a:lnTo>
                    <a:pt x="54798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7" y="5979"/>
                  </a:lnTo>
                  <a:lnTo>
                    <a:pt x="53877" y="35454"/>
                  </a:lnTo>
                  <a:lnTo>
                    <a:pt x="54798" y="35454"/>
                  </a:lnTo>
                  <a:cubicBezTo>
                    <a:pt x="67224" y="13348"/>
                    <a:pt x="89331" y="0"/>
                    <a:pt x="116042" y="0"/>
                  </a:cubicBezTo>
                  <a:cubicBezTo>
                    <a:pt x="123872" y="-8"/>
                    <a:pt x="133543" y="1373"/>
                    <a:pt x="141832" y="505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0" name="Freihandform: Form 239">
              <a:extLst>
                <a:ext uri="{FF2B5EF4-FFF2-40B4-BE49-F238E27FC236}">
                  <a16:creationId xmlns:a16="http://schemas.microsoft.com/office/drawing/2014/main" id="{A2ECCE8A-4A84-5B4C-8422-0B55E2E066C8}"/>
                </a:ext>
              </a:extLst>
            </p:cNvPr>
            <p:cNvSpPr/>
            <p:nvPr/>
          </p:nvSpPr>
          <p:spPr>
            <a:xfrm>
              <a:off x="9871287" y="2039148"/>
              <a:ext cx="180510" cy="245891"/>
            </a:xfrm>
            <a:custGeom>
              <a:avLst/>
              <a:gdLst>
                <a:gd name="connsiteX0" fmla="*/ 26234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2 h 245891"/>
                <a:gd name="connsiteX11" fmla="*/ 0 w 180510"/>
                <a:gd name="connsiteY11" fmla="*/ 217337 h 245891"/>
                <a:gd name="connsiteX12" fmla="*/ 26234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4" y="174063"/>
                  </a:moveTo>
                  <a:cubicBezTo>
                    <a:pt x="49261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82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2"/>
                    <a:pt x="90251" y="245892"/>
                  </a:cubicBezTo>
                  <a:cubicBezTo>
                    <a:pt x="58941" y="245892"/>
                    <a:pt x="27172" y="236220"/>
                    <a:pt x="0" y="217337"/>
                  </a:cubicBezTo>
                  <a:lnTo>
                    <a:pt x="26234" y="174063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1" name="Freihandform: Form 240">
              <a:extLst>
                <a:ext uri="{FF2B5EF4-FFF2-40B4-BE49-F238E27FC236}">
                  <a16:creationId xmlns:a16="http://schemas.microsoft.com/office/drawing/2014/main" id="{F8D9B2EC-07D7-2F47-A272-2D881486AA4F}"/>
                </a:ext>
              </a:extLst>
            </p:cNvPr>
            <p:cNvSpPr/>
            <p:nvPr/>
          </p:nvSpPr>
          <p:spPr>
            <a:xfrm>
              <a:off x="10103018" y="1941059"/>
              <a:ext cx="69535" cy="338461"/>
            </a:xfrm>
            <a:custGeom>
              <a:avLst/>
              <a:gdLst>
                <a:gd name="connsiteX0" fmla="*/ 69535 w 69535"/>
                <a:gd name="connsiteY0" fmla="*/ 33160 h 338461"/>
                <a:gd name="connsiteX1" fmla="*/ 34533 w 69535"/>
                <a:gd name="connsiteY1" fmla="*/ 66311 h 338461"/>
                <a:gd name="connsiteX2" fmla="*/ 0 w 69535"/>
                <a:gd name="connsiteY2" fmla="*/ 33160 h 338461"/>
                <a:gd name="connsiteX3" fmla="*/ 34533 w 69535"/>
                <a:gd name="connsiteY3" fmla="*/ 0 h 338461"/>
                <a:gd name="connsiteX4" fmla="*/ 69535 w 69535"/>
                <a:gd name="connsiteY4" fmla="*/ 33160 h 338461"/>
                <a:gd name="connsiteX5" fmla="*/ 62166 w 69535"/>
                <a:gd name="connsiteY5" fmla="*/ 338462 h 338461"/>
                <a:gd name="connsiteX6" fmla="*/ 7369 w 69535"/>
                <a:gd name="connsiteY6" fmla="*/ 338462 h 338461"/>
                <a:gd name="connsiteX7" fmla="*/ 7369 w 69535"/>
                <a:gd name="connsiteY7" fmla="*/ 104076 h 338461"/>
                <a:gd name="connsiteX8" fmla="*/ 62166 w 69535"/>
                <a:gd name="connsiteY8" fmla="*/ 104076 h 338461"/>
                <a:gd name="connsiteX9" fmla="*/ 62166 w 69535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5" h="338461">
                  <a:moveTo>
                    <a:pt x="69535" y="33160"/>
                  </a:moveTo>
                  <a:cubicBezTo>
                    <a:pt x="69535" y="52503"/>
                    <a:pt x="53877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7" y="0"/>
                    <a:pt x="69535" y="14277"/>
                    <a:pt x="69535" y="33160"/>
                  </a:cubicBezTo>
                  <a:close/>
                  <a:moveTo>
                    <a:pt x="62166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6" y="104076"/>
                  </a:lnTo>
                  <a:lnTo>
                    <a:pt x="62166" y="338462"/>
                  </a:ln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2" name="Freihandform: Form 241">
              <a:extLst>
                <a:ext uri="{FF2B5EF4-FFF2-40B4-BE49-F238E27FC236}">
                  <a16:creationId xmlns:a16="http://schemas.microsoft.com/office/drawing/2014/main" id="{D5C1A5CB-FA99-E943-BF6F-5FE08E2CD5D0}"/>
                </a:ext>
              </a:extLst>
            </p:cNvPr>
            <p:cNvSpPr/>
            <p:nvPr/>
          </p:nvSpPr>
          <p:spPr>
            <a:xfrm>
              <a:off x="10211675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3" name="Freihandform: Form 242">
              <a:extLst>
                <a:ext uri="{FF2B5EF4-FFF2-40B4-BE49-F238E27FC236}">
                  <a16:creationId xmlns:a16="http://schemas.microsoft.com/office/drawing/2014/main" id="{FAC0887C-5541-FF45-9F5C-21B69C101ECA}"/>
                </a:ext>
              </a:extLst>
            </p:cNvPr>
            <p:cNvSpPr/>
            <p:nvPr/>
          </p:nvSpPr>
          <p:spPr>
            <a:xfrm>
              <a:off x="10400449" y="1944744"/>
              <a:ext cx="198923" cy="340304"/>
            </a:xfrm>
            <a:custGeom>
              <a:avLst/>
              <a:gdLst>
                <a:gd name="connsiteX0" fmla="*/ 100835 w 198923"/>
                <a:gd name="connsiteY0" fmla="*/ 189261 h 340304"/>
                <a:gd name="connsiteX1" fmla="*/ 145040 w 198923"/>
                <a:gd name="connsiteY1" fmla="*/ 194327 h 340304"/>
                <a:gd name="connsiteX2" fmla="*/ 145040 w 198923"/>
                <a:gd name="connsiteY2" fmla="*/ 186037 h 340304"/>
                <a:gd name="connsiteX3" fmla="*/ 93466 w 198923"/>
                <a:gd name="connsiteY3" fmla="*/ 140451 h 340304"/>
                <a:gd name="connsiteX4" fmla="*/ 34064 w 198923"/>
                <a:gd name="connsiteY4" fmla="*/ 153807 h 340304"/>
                <a:gd name="connsiteX5" fmla="*/ 22090 w 198923"/>
                <a:gd name="connsiteY5" fmla="*/ 107760 h 340304"/>
                <a:gd name="connsiteX6" fmla="*/ 98993 w 198923"/>
                <a:gd name="connsiteY6" fmla="*/ 94404 h 340304"/>
                <a:gd name="connsiteX7" fmla="*/ 198924 w 198923"/>
                <a:gd name="connsiteY7" fmla="*/ 185116 h 340304"/>
                <a:gd name="connsiteX8" fmla="*/ 198924 w 198923"/>
                <a:gd name="connsiteY8" fmla="*/ 334778 h 340304"/>
                <a:gd name="connsiteX9" fmla="*/ 146882 w 198923"/>
                <a:gd name="connsiteY9" fmla="*/ 334778 h 340304"/>
                <a:gd name="connsiteX10" fmla="*/ 146882 w 198923"/>
                <a:gd name="connsiteY10" fmla="*/ 309908 h 340304"/>
                <a:gd name="connsiteX11" fmla="*/ 145969 w 198923"/>
                <a:gd name="connsiteY11" fmla="*/ 309908 h 340304"/>
                <a:gd name="connsiteX12" fmla="*/ 77356 w 198923"/>
                <a:gd name="connsiteY12" fmla="*/ 340304 h 340304"/>
                <a:gd name="connsiteX13" fmla="*/ 0 w 198923"/>
                <a:gd name="connsiteY13" fmla="*/ 265703 h 340304"/>
                <a:gd name="connsiteX14" fmla="*/ 100835 w 198923"/>
                <a:gd name="connsiteY14" fmla="*/ 189261 h 340304"/>
                <a:gd name="connsiteX15" fmla="*/ 56170 w 198923"/>
                <a:gd name="connsiteY15" fmla="*/ 64008 h 340304"/>
                <a:gd name="connsiteX16" fmla="*/ 23480 w 198923"/>
                <a:gd name="connsiteY16" fmla="*/ 32238 h 340304"/>
                <a:gd name="connsiteX17" fmla="*/ 56170 w 198923"/>
                <a:gd name="connsiteY17" fmla="*/ 0 h 340304"/>
                <a:gd name="connsiteX18" fmla="*/ 88861 w 198923"/>
                <a:gd name="connsiteY18" fmla="*/ 32238 h 340304"/>
                <a:gd name="connsiteX19" fmla="*/ 56170 w 198923"/>
                <a:gd name="connsiteY19" fmla="*/ 64008 h 340304"/>
                <a:gd name="connsiteX20" fmla="*/ 91624 w 198923"/>
                <a:gd name="connsiteY20" fmla="*/ 299324 h 340304"/>
                <a:gd name="connsiteX21" fmla="*/ 145040 w 198923"/>
                <a:gd name="connsiteY21" fmla="*/ 271238 h 340304"/>
                <a:gd name="connsiteX22" fmla="*/ 145040 w 198923"/>
                <a:gd name="connsiteY22" fmla="*/ 230250 h 340304"/>
                <a:gd name="connsiteX23" fmla="*/ 106823 w 198923"/>
                <a:gd name="connsiteY23" fmla="*/ 225644 h 340304"/>
                <a:gd name="connsiteX24" fmla="*/ 52486 w 198923"/>
                <a:gd name="connsiteY24" fmla="*/ 264322 h 340304"/>
                <a:gd name="connsiteX25" fmla="*/ 91624 w 198923"/>
                <a:gd name="connsiteY25" fmla="*/ 299324 h 340304"/>
                <a:gd name="connsiteX26" fmla="*/ 151948 w 198923"/>
                <a:gd name="connsiteY26" fmla="*/ 64008 h 340304"/>
                <a:gd name="connsiteX27" fmla="*/ 119258 w 198923"/>
                <a:gd name="connsiteY27" fmla="*/ 32238 h 340304"/>
                <a:gd name="connsiteX28" fmla="*/ 151948 w 198923"/>
                <a:gd name="connsiteY28" fmla="*/ 0 h 340304"/>
                <a:gd name="connsiteX29" fmla="*/ 184639 w 198923"/>
                <a:gd name="connsiteY29" fmla="*/ 32238 h 340304"/>
                <a:gd name="connsiteX30" fmla="*/ 151948 w 198923"/>
                <a:gd name="connsiteY30" fmla="*/ 64008 h 3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923" h="340304">
                  <a:moveTo>
                    <a:pt x="100835" y="189261"/>
                  </a:moveTo>
                  <a:cubicBezTo>
                    <a:pt x="116026" y="189261"/>
                    <a:pt x="129851" y="190182"/>
                    <a:pt x="145040" y="194327"/>
                  </a:cubicBezTo>
                  <a:lnTo>
                    <a:pt x="145040" y="186037"/>
                  </a:lnTo>
                  <a:cubicBezTo>
                    <a:pt x="145040" y="156109"/>
                    <a:pt x="127539" y="140451"/>
                    <a:pt x="93466" y="140451"/>
                  </a:cubicBezTo>
                  <a:cubicBezTo>
                    <a:pt x="74584" y="140451"/>
                    <a:pt x="53407" y="145056"/>
                    <a:pt x="34064" y="153807"/>
                  </a:cubicBezTo>
                  <a:lnTo>
                    <a:pt x="22090" y="107760"/>
                  </a:lnTo>
                  <a:cubicBezTo>
                    <a:pt x="43727" y="99470"/>
                    <a:pt x="72282" y="94404"/>
                    <a:pt x="98993" y="94404"/>
                  </a:cubicBezTo>
                  <a:cubicBezTo>
                    <a:pt x="164844" y="94404"/>
                    <a:pt x="198924" y="125261"/>
                    <a:pt x="198924" y="185116"/>
                  </a:cubicBezTo>
                  <a:lnTo>
                    <a:pt x="198924" y="334778"/>
                  </a:lnTo>
                  <a:lnTo>
                    <a:pt x="146882" y="334778"/>
                  </a:lnTo>
                  <a:lnTo>
                    <a:pt x="146882" y="309908"/>
                  </a:lnTo>
                  <a:lnTo>
                    <a:pt x="145969" y="309908"/>
                  </a:lnTo>
                  <a:cubicBezTo>
                    <a:pt x="125705" y="330633"/>
                    <a:pt x="104528" y="340304"/>
                    <a:pt x="77356" y="340304"/>
                  </a:cubicBezTo>
                  <a:cubicBezTo>
                    <a:pt x="30388" y="340304"/>
                    <a:pt x="0" y="311290"/>
                    <a:pt x="0" y="265703"/>
                  </a:cubicBezTo>
                  <a:cubicBezTo>
                    <a:pt x="-8" y="215973"/>
                    <a:pt x="35446" y="189261"/>
                    <a:pt x="100835" y="189261"/>
                  </a:cubicBezTo>
                  <a:close/>
                  <a:moveTo>
                    <a:pt x="56170" y="64008"/>
                  </a:moveTo>
                  <a:cubicBezTo>
                    <a:pt x="38670" y="64008"/>
                    <a:pt x="23480" y="49270"/>
                    <a:pt x="23480" y="32238"/>
                  </a:cubicBezTo>
                  <a:cubicBezTo>
                    <a:pt x="23480" y="15198"/>
                    <a:pt x="38670" y="0"/>
                    <a:pt x="56170" y="0"/>
                  </a:cubicBezTo>
                  <a:cubicBezTo>
                    <a:pt x="73671" y="0"/>
                    <a:pt x="88861" y="15190"/>
                    <a:pt x="88861" y="32238"/>
                  </a:cubicBezTo>
                  <a:cubicBezTo>
                    <a:pt x="88861" y="49270"/>
                    <a:pt x="73671" y="64008"/>
                    <a:pt x="56170" y="64008"/>
                  </a:cubicBezTo>
                  <a:close/>
                  <a:moveTo>
                    <a:pt x="91624" y="299324"/>
                  </a:moveTo>
                  <a:cubicBezTo>
                    <a:pt x="111420" y="299324"/>
                    <a:pt x="129841" y="289652"/>
                    <a:pt x="145040" y="271238"/>
                  </a:cubicBezTo>
                  <a:lnTo>
                    <a:pt x="145040" y="230250"/>
                  </a:lnTo>
                  <a:cubicBezTo>
                    <a:pt x="132144" y="227026"/>
                    <a:pt x="118789" y="225644"/>
                    <a:pt x="106823" y="225644"/>
                  </a:cubicBezTo>
                  <a:cubicBezTo>
                    <a:pt x="72290" y="225644"/>
                    <a:pt x="52486" y="239452"/>
                    <a:pt x="52486" y="264322"/>
                  </a:cubicBezTo>
                  <a:cubicBezTo>
                    <a:pt x="52477" y="285968"/>
                    <a:pt x="67684" y="299324"/>
                    <a:pt x="91624" y="299324"/>
                  </a:cubicBezTo>
                  <a:close/>
                  <a:moveTo>
                    <a:pt x="151948" y="64008"/>
                  </a:moveTo>
                  <a:cubicBezTo>
                    <a:pt x="134447" y="64008"/>
                    <a:pt x="119258" y="49270"/>
                    <a:pt x="119258" y="32238"/>
                  </a:cubicBezTo>
                  <a:cubicBezTo>
                    <a:pt x="119258" y="15198"/>
                    <a:pt x="134447" y="0"/>
                    <a:pt x="151948" y="0"/>
                  </a:cubicBezTo>
                  <a:cubicBezTo>
                    <a:pt x="169448" y="0"/>
                    <a:pt x="184639" y="15190"/>
                    <a:pt x="184639" y="32238"/>
                  </a:cubicBezTo>
                  <a:cubicBezTo>
                    <a:pt x="184647" y="49270"/>
                    <a:pt x="169448" y="64008"/>
                    <a:pt x="151948" y="64008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4" name="Freihandform: Form 243">
              <a:extLst>
                <a:ext uri="{FF2B5EF4-FFF2-40B4-BE49-F238E27FC236}">
                  <a16:creationId xmlns:a16="http://schemas.microsoft.com/office/drawing/2014/main" id="{CEB3EB81-D1C4-D044-AF1C-A8DEBD1A5204}"/>
                </a:ext>
              </a:extLst>
            </p:cNvPr>
            <p:cNvSpPr/>
            <p:nvPr/>
          </p:nvSpPr>
          <p:spPr>
            <a:xfrm>
              <a:off x="10641954" y="1969144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67" y="264791"/>
                    <a:pt x="145977" y="260185"/>
                  </a:cubicBezTo>
                  <a:close/>
                </a:path>
              </a:pathLst>
            </a:custGeom>
            <a:solidFill>
              <a:srgbClr val="041E42"/>
            </a:solidFill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5" name="Freihandform: Form 244">
              <a:extLst>
                <a:ext uri="{FF2B5EF4-FFF2-40B4-BE49-F238E27FC236}">
                  <a16:creationId xmlns:a16="http://schemas.microsoft.com/office/drawing/2014/main" id="{0F085344-7F64-BC41-B7A2-F0B1CFC073CE}"/>
                </a:ext>
              </a:extLst>
            </p:cNvPr>
            <p:cNvSpPr/>
            <p:nvPr/>
          </p:nvSpPr>
          <p:spPr>
            <a:xfrm>
              <a:off x="4034676" y="2461949"/>
              <a:ext cx="203537" cy="324184"/>
            </a:xfrm>
            <a:custGeom>
              <a:avLst/>
              <a:gdLst>
                <a:gd name="connsiteX0" fmla="*/ 203538 w 203537"/>
                <a:gd name="connsiteY0" fmla="*/ 52955 h 324184"/>
                <a:gd name="connsiteX1" fmla="*/ 57561 w 203537"/>
                <a:gd name="connsiteY1" fmla="*/ 52955 h 324184"/>
                <a:gd name="connsiteX2" fmla="*/ 57561 w 203537"/>
                <a:gd name="connsiteY2" fmla="*/ 133543 h 324184"/>
                <a:gd name="connsiteX3" fmla="*/ 166694 w 203537"/>
                <a:gd name="connsiteY3" fmla="*/ 133543 h 324184"/>
                <a:gd name="connsiteX4" fmla="*/ 166694 w 203537"/>
                <a:gd name="connsiteY4" fmla="*/ 186037 h 324184"/>
                <a:gd name="connsiteX5" fmla="*/ 57561 w 203537"/>
                <a:gd name="connsiteY5" fmla="*/ 186037 h 324184"/>
                <a:gd name="connsiteX6" fmla="*/ 57561 w 203537"/>
                <a:gd name="connsiteY6" fmla="*/ 324185 h 324184"/>
                <a:gd name="connsiteX7" fmla="*/ 0 w 203537"/>
                <a:gd name="connsiteY7" fmla="*/ 324185 h 324184"/>
                <a:gd name="connsiteX8" fmla="*/ 0 w 203537"/>
                <a:gd name="connsiteY8" fmla="*/ 0 h 324184"/>
                <a:gd name="connsiteX9" fmla="*/ 203538 w 203537"/>
                <a:gd name="connsiteY9" fmla="*/ 0 h 324184"/>
                <a:gd name="connsiteX10" fmla="*/ 203538 w 203537"/>
                <a:gd name="connsiteY10" fmla="*/ 52955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3537" h="324184">
                  <a:moveTo>
                    <a:pt x="203538" y="52955"/>
                  </a:moveTo>
                  <a:lnTo>
                    <a:pt x="57561" y="52955"/>
                  </a:lnTo>
                  <a:lnTo>
                    <a:pt x="57561" y="133543"/>
                  </a:lnTo>
                  <a:lnTo>
                    <a:pt x="166694" y="133543"/>
                  </a:lnTo>
                  <a:lnTo>
                    <a:pt x="166694" y="186037"/>
                  </a:lnTo>
                  <a:lnTo>
                    <a:pt x="57561" y="186037"/>
                  </a:lnTo>
                  <a:lnTo>
                    <a:pt x="57561" y="324185"/>
                  </a:lnTo>
                  <a:lnTo>
                    <a:pt x="0" y="324185"/>
                  </a:lnTo>
                  <a:lnTo>
                    <a:pt x="0" y="0"/>
                  </a:lnTo>
                  <a:lnTo>
                    <a:pt x="203538" y="0"/>
                  </a:lnTo>
                  <a:lnTo>
                    <a:pt x="203538" y="5295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6" name="Freihandform: Form 245">
              <a:extLst>
                <a:ext uri="{FF2B5EF4-FFF2-40B4-BE49-F238E27FC236}">
                  <a16:creationId xmlns:a16="http://schemas.microsoft.com/office/drawing/2014/main" id="{E329E034-02D6-8E4E-B8DF-04E61F43DE7C}"/>
                </a:ext>
              </a:extLst>
            </p:cNvPr>
            <p:cNvSpPr/>
            <p:nvPr/>
          </p:nvSpPr>
          <p:spPr>
            <a:xfrm>
              <a:off x="4248564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94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5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27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52" y="132621"/>
                    <a:pt x="118796" y="131240"/>
                    <a:pt x="106822" y="131240"/>
                  </a:cubicBezTo>
                  <a:cubicBezTo>
                    <a:pt x="72289" y="131240"/>
                    <a:pt x="52494" y="145048"/>
                    <a:pt x="52494" y="169918"/>
                  </a:cubicBezTo>
                  <a:cubicBezTo>
                    <a:pt x="52494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7" name="Freihandform: Form 246">
              <a:extLst>
                <a:ext uri="{FF2B5EF4-FFF2-40B4-BE49-F238E27FC236}">
                  <a16:creationId xmlns:a16="http://schemas.microsoft.com/office/drawing/2014/main" id="{A32F911F-8DE3-CA4E-A53E-F107EE54ADA3}"/>
                </a:ext>
              </a:extLst>
            </p:cNvPr>
            <p:cNvSpPr/>
            <p:nvPr/>
          </p:nvSpPr>
          <p:spPr>
            <a:xfrm>
              <a:off x="4504663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7 w 197542"/>
                <a:gd name="connsiteY5" fmla="*/ 75974 h 245899"/>
                <a:gd name="connsiteX6" fmla="*/ 112809 w 197542"/>
                <a:gd name="connsiteY6" fmla="*/ 50191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34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80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09" y="50191"/>
                  </a:cubicBezTo>
                  <a:cubicBezTo>
                    <a:pt x="78276" y="50191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71" y="196161"/>
                    <a:pt x="145509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8" name="Freihandform: Form 247">
              <a:extLst>
                <a:ext uri="{FF2B5EF4-FFF2-40B4-BE49-F238E27FC236}">
                  <a16:creationId xmlns:a16="http://schemas.microsoft.com/office/drawing/2014/main" id="{02DEC2DE-6F39-2E43-A81F-878F069A5605}"/>
                </a:ext>
              </a:extLst>
            </p:cNvPr>
            <p:cNvSpPr/>
            <p:nvPr/>
          </p:nvSpPr>
          <p:spPr>
            <a:xfrm>
              <a:off x="4749206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8 w 201695"/>
                <a:gd name="connsiteY10" fmla="*/ 136298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298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8" y="136298"/>
                  </a:lnTo>
                  <a:cubicBezTo>
                    <a:pt x="69074" y="115573"/>
                    <a:pt x="93475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Freihandform: Form 248">
              <a:extLst>
                <a:ext uri="{FF2B5EF4-FFF2-40B4-BE49-F238E27FC236}">
                  <a16:creationId xmlns:a16="http://schemas.microsoft.com/office/drawing/2014/main" id="{F66429FB-ECC8-0A45-85D8-A187E3D060D9}"/>
                </a:ext>
              </a:extLst>
            </p:cNvPr>
            <p:cNvSpPr/>
            <p:nvPr/>
          </p:nvSpPr>
          <p:spPr>
            <a:xfrm>
              <a:off x="5020788" y="2443535"/>
              <a:ext cx="218735" cy="348125"/>
            </a:xfrm>
            <a:custGeom>
              <a:avLst/>
              <a:gdLst>
                <a:gd name="connsiteX0" fmla="*/ 218736 w 218735"/>
                <a:gd name="connsiteY0" fmla="*/ 223785 h 348125"/>
                <a:gd name="connsiteX1" fmla="*/ 122959 w 218735"/>
                <a:gd name="connsiteY1" fmla="*/ 348125 h 348125"/>
                <a:gd name="connsiteX2" fmla="*/ 53424 w 218735"/>
                <a:gd name="connsiteY2" fmla="*/ 315434 h 348125"/>
                <a:gd name="connsiteX3" fmla="*/ 52503 w 218735"/>
                <a:gd name="connsiteY3" fmla="*/ 315434 h 348125"/>
                <a:gd name="connsiteX4" fmla="*/ 52503 w 218735"/>
                <a:gd name="connsiteY4" fmla="*/ 342599 h 348125"/>
                <a:gd name="connsiteX5" fmla="*/ 0 w 218735"/>
                <a:gd name="connsiteY5" fmla="*/ 342599 h 348125"/>
                <a:gd name="connsiteX6" fmla="*/ 0 w 218735"/>
                <a:gd name="connsiteY6" fmla="*/ 13808 h 348125"/>
                <a:gd name="connsiteX7" fmla="*/ 54806 w 218735"/>
                <a:gd name="connsiteY7" fmla="*/ 0 h 348125"/>
                <a:gd name="connsiteX8" fmla="*/ 54806 w 218735"/>
                <a:gd name="connsiteY8" fmla="*/ 135376 h 348125"/>
                <a:gd name="connsiteX9" fmla="*/ 55719 w 218735"/>
                <a:gd name="connsiteY9" fmla="*/ 135376 h 348125"/>
                <a:gd name="connsiteX10" fmla="*/ 124332 w 218735"/>
                <a:gd name="connsiteY10" fmla="*/ 102225 h 348125"/>
                <a:gd name="connsiteX11" fmla="*/ 218736 w 218735"/>
                <a:gd name="connsiteY11" fmla="*/ 223785 h 348125"/>
                <a:gd name="connsiteX12" fmla="*/ 164852 w 218735"/>
                <a:gd name="connsiteY12" fmla="*/ 225167 h 348125"/>
                <a:gd name="connsiteX13" fmla="*/ 110055 w 218735"/>
                <a:gd name="connsiteY13" fmla="*/ 151487 h 348125"/>
                <a:gd name="connsiteX14" fmla="*/ 54797 w 218735"/>
                <a:gd name="connsiteY14" fmla="*/ 181883 h 348125"/>
                <a:gd name="connsiteX15" fmla="*/ 54797 w 218735"/>
                <a:gd name="connsiteY15" fmla="*/ 267537 h 348125"/>
                <a:gd name="connsiteX16" fmla="*/ 110507 w 218735"/>
                <a:gd name="connsiteY16" fmla="*/ 299315 h 348125"/>
                <a:gd name="connsiteX17" fmla="*/ 164852 w 218735"/>
                <a:gd name="connsiteY17" fmla="*/ 225167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8735" h="348125">
                  <a:moveTo>
                    <a:pt x="218736" y="223785"/>
                  </a:moveTo>
                  <a:cubicBezTo>
                    <a:pt x="218736" y="299315"/>
                    <a:pt x="180519" y="348125"/>
                    <a:pt x="122959" y="348125"/>
                  </a:cubicBezTo>
                  <a:cubicBezTo>
                    <a:pt x="93483" y="348125"/>
                    <a:pt x="69074" y="335690"/>
                    <a:pt x="53424" y="315434"/>
                  </a:cubicBezTo>
                  <a:lnTo>
                    <a:pt x="52503" y="315434"/>
                  </a:lnTo>
                  <a:lnTo>
                    <a:pt x="52503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806" y="0"/>
                  </a:lnTo>
                  <a:lnTo>
                    <a:pt x="54806" y="135376"/>
                  </a:lnTo>
                  <a:lnTo>
                    <a:pt x="55719" y="135376"/>
                  </a:lnTo>
                  <a:cubicBezTo>
                    <a:pt x="71377" y="114652"/>
                    <a:pt x="95317" y="102225"/>
                    <a:pt x="124332" y="102225"/>
                  </a:cubicBezTo>
                  <a:cubicBezTo>
                    <a:pt x="180510" y="102217"/>
                    <a:pt x="218736" y="147803"/>
                    <a:pt x="218736" y="223785"/>
                  </a:cubicBezTo>
                  <a:close/>
                  <a:moveTo>
                    <a:pt x="164852" y="225167"/>
                  </a:moveTo>
                  <a:cubicBezTo>
                    <a:pt x="164852" y="176826"/>
                    <a:pt x="145056" y="151487"/>
                    <a:pt x="110055" y="151487"/>
                  </a:cubicBezTo>
                  <a:cubicBezTo>
                    <a:pt x="88878" y="151487"/>
                    <a:pt x="71838" y="160707"/>
                    <a:pt x="54797" y="181883"/>
                  </a:cubicBezTo>
                  <a:lnTo>
                    <a:pt x="54797" y="267537"/>
                  </a:lnTo>
                  <a:cubicBezTo>
                    <a:pt x="70448" y="288262"/>
                    <a:pt x="87949" y="299315"/>
                    <a:pt x="110507" y="299315"/>
                  </a:cubicBezTo>
                  <a:cubicBezTo>
                    <a:pt x="145969" y="299307"/>
                    <a:pt x="164852" y="272134"/>
                    <a:pt x="164852" y="225167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0" name="Freihandform: Form 249">
              <a:extLst>
                <a:ext uri="{FF2B5EF4-FFF2-40B4-BE49-F238E27FC236}">
                  <a16:creationId xmlns:a16="http://schemas.microsoft.com/office/drawing/2014/main" id="{E3494488-3642-EE4C-8114-D1013B394EB0}"/>
                </a:ext>
              </a:extLst>
            </p:cNvPr>
            <p:cNvSpPr/>
            <p:nvPr/>
          </p:nvSpPr>
          <p:spPr>
            <a:xfrm>
              <a:off x="5287630" y="2545752"/>
              <a:ext cx="214138" cy="245899"/>
            </a:xfrm>
            <a:custGeom>
              <a:avLst/>
              <a:gdLst>
                <a:gd name="connsiteX0" fmla="*/ 116042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7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2 w 214138"/>
                <a:gd name="connsiteY8" fmla="*/ 207214 h 245899"/>
                <a:gd name="connsiteX9" fmla="*/ 116042 w 214138"/>
                <a:gd name="connsiteY9" fmla="*/ 245900 h 245899"/>
                <a:gd name="connsiteX10" fmla="*/ 54806 w 214138"/>
                <a:gd name="connsiteY10" fmla="*/ 101765 h 245899"/>
                <a:gd name="connsiteX11" fmla="*/ 161176 w 214138"/>
                <a:gd name="connsiteY11" fmla="*/ 101765 h 245899"/>
                <a:gd name="connsiteX12" fmla="*/ 109134 w 214138"/>
                <a:gd name="connsiteY12" fmla="*/ 45125 h 245899"/>
                <a:gd name="connsiteX13" fmla="*/ 54806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2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7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7" y="198924"/>
                    <a:pt x="155658" y="190634"/>
                    <a:pt x="174079" y="171291"/>
                  </a:cubicBezTo>
                  <a:lnTo>
                    <a:pt x="208152" y="207214"/>
                  </a:lnTo>
                  <a:cubicBezTo>
                    <a:pt x="181440" y="233465"/>
                    <a:pt x="151504" y="245900"/>
                    <a:pt x="116042" y="245900"/>
                  </a:cubicBezTo>
                  <a:close/>
                  <a:moveTo>
                    <a:pt x="54806" y="101765"/>
                  </a:moveTo>
                  <a:lnTo>
                    <a:pt x="161176" y="101765"/>
                  </a:lnTo>
                  <a:cubicBezTo>
                    <a:pt x="158873" y="65850"/>
                    <a:pt x="139990" y="45125"/>
                    <a:pt x="109134" y="45125"/>
                  </a:cubicBezTo>
                  <a:cubicBezTo>
                    <a:pt x="78746" y="45134"/>
                    <a:pt x="59411" y="65390"/>
                    <a:pt x="54806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1" name="Freihandform: Form 250">
              <a:extLst>
                <a:ext uri="{FF2B5EF4-FFF2-40B4-BE49-F238E27FC236}">
                  <a16:creationId xmlns:a16="http://schemas.microsoft.com/office/drawing/2014/main" id="{A3A2F3C6-2C0D-4D45-B46F-BF1DE25E1CC6}"/>
                </a:ext>
              </a:extLst>
            </p:cNvPr>
            <p:cNvSpPr/>
            <p:nvPr/>
          </p:nvSpPr>
          <p:spPr>
            <a:xfrm>
              <a:off x="5561607" y="2545769"/>
              <a:ext cx="141832" cy="240365"/>
            </a:xfrm>
            <a:custGeom>
              <a:avLst/>
              <a:gdLst>
                <a:gd name="connsiteX0" fmla="*/ 141833 w 141832"/>
                <a:gd name="connsiteY0" fmla="*/ 5049 h 240365"/>
                <a:gd name="connsiteX1" fmla="*/ 133082 w 141832"/>
                <a:gd name="connsiteY1" fmla="*/ 61228 h 240365"/>
                <a:gd name="connsiteX2" fmla="*/ 102686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34 w 141832"/>
                <a:gd name="connsiteY10" fmla="*/ 0 h 240365"/>
                <a:gd name="connsiteX11" fmla="*/ 141833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3" y="5049"/>
                  </a:moveTo>
                  <a:lnTo>
                    <a:pt x="133082" y="61228"/>
                  </a:lnTo>
                  <a:cubicBezTo>
                    <a:pt x="124792" y="56623"/>
                    <a:pt x="114661" y="53859"/>
                    <a:pt x="102686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4" y="13348"/>
                    <a:pt x="89330" y="0"/>
                    <a:pt x="116034" y="0"/>
                  </a:cubicBezTo>
                  <a:cubicBezTo>
                    <a:pt x="123879" y="-17"/>
                    <a:pt x="133543" y="1365"/>
                    <a:pt x="141833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2" name="Freihandform: Form 251">
              <a:extLst>
                <a:ext uri="{FF2B5EF4-FFF2-40B4-BE49-F238E27FC236}">
                  <a16:creationId xmlns:a16="http://schemas.microsoft.com/office/drawing/2014/main" id="{604E27F8-3A52-2F4E-8C66-946E882601A7}"/>
                </a:ext>
              </a:extLst>
            </p:cNvPr>
            <p:cNvSpPr/>
            <p:nvPr/>
          </p:nvSpPr>
          <p:spPr>
            <a:xfrm>
              <a:off x="5733668" y="2545752"/>
              <a:ext cx="214138" cy="245899"/>
            </a:xfrm>
            <a:custGeom>
              <a:avLst/>
              <a:gdLst>
                <a:gd name="connsiteX0" fmla="*/ 116041 w 214138"/>
                <a:gd name="connsiteY0" fmla="*/ 245900 h 245899"/>
                <a:gd name="connsiteX1" fmla="*/ 0 w 214138"/>
                <a:gd name="connsiteY1" fmla="*/ 122489 h 245899"/>
                <a:gd name="connsiteX2" fmla="*/ 110063 w 214138"/>
                <a:gd name="connsiteY2" fmla="*/ 0 h 245899"/>
                <a:gd name="connsiteX3" fmla="*/ 214139 w 214138"/>
                <a:gd name="connsiteY3" fmla="*/ 119266 h 245899"/>
                <a:gd name="connsiteX4" fmla="*/ 213218 w 214138"/>
                <a:gd name="connsiteY4" fmla="*/ 141824 h 245899"/>
                <a:gd name="connsiteX5" fmla="*/ 55726 w 214138"/>
                <a:gd name="connsiteY5" fmla="*/ 141824 h 245899"/>
                <a:gd name="connsiteX6" fmla="*/ 116511 w 214138"/>
                <a:gd name="connsiteY6" fmla="*/ 198924 h 245899"/>
                <a:gd name="connsiteX7" fmla="*/ 174079 w 214138"/>
                <a:gd name="connsiteY7" fmla="*/ 171291 h 245899"/>
                <a:gd name="connsiteX8" fmla="*/ 208151 w 214138"/>
                <a:gd name="connsiteY8" fmla="*/ 207214 h 245899"/>
                <a:gd name="connsiteX9" fmla="*/ 116041 w 214138"/>
                <a:gd name="connsiteY9" fmla="*/ 245900 h 245899"/>
                <a:gd name="connsiteX10" fmla="*/ 54797 w 214138"/>
                <a:gd name="connsiteY10" fmla="*/ 101765 h 245899"/>
                <a:gd name="connsiteX11" fmla="*/ 161167 w 214138"/>
                <a:gd name="connsiteY11" fmla="*/ 101765 h 245899"/>
                <a:gd name="connsiteX12" fmla="*/ 109125 w 214138"/>
                <a:gd name="connsiteY12" fmla="*/ 45125 h 245899"/>
                <a:gd name="connsiteX13" fmla="*/ 54797 w 214138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8" h="245899">
                  <a:moveTo>
                    <a:pt x="116041" y="245900"/>
                  </a:moveTo>
                  <a:cubicBezTo>
                    <a:pt x="46507" y="245900"/>
                    <a:pt x="0" y="196621"/>
                    <a:pt x="0" y="122489"/>
                  </a:cubicBezTo>
                  <a:cubicBezTo>
                    <a:pt x="0" y="49739"/>
                    <a:pt x="44673" y="0"/>
                    <a:pt x="110063" y="0"/>
                  </a:cubicBezTo>
                  <a:cubicBezTo>
                    <a:pt x="173150" y="0"/>
                    <a:pt x="214139" y="46968"/>
                    <a:pt x="214139" y="119266"/>
                  </a:cubicBezTo>
                  <a:cubicBezTo>
                    <a:pt x="214139" y="127095"/>
                    <a:pt x="213670" y="135385"/>
                    <a:pt x="213218" y="141824"/>
                  </a:cubicBezTo>
                  <a:lnTo>
                    <a:pt x="55726" y="141824"/>
                  </a:lnTo>
                  <a:cubicBezTo>
                    <a:pt x="61714" y="178207"/>
                    <a:pt x="83360" y="198924"/>
                    <a:pt x="116511" y="198924"/>
                  </a:cubicBezTo>
                  <a:cubicBezTo>
                    <a:pt x="138156" y="198924"/>
                    <a:pt x="155657" y="190634"/>
                    <a:pt x="174079" y="171291"/>
                  </a:cubicBezTo>
                  <a:lnTo>
                    <a:pt x="208151" y="207214"/>
                  </a:lnTo>
                  <a:cubicBezTo>
                    <a:pt x="181431" y="233465"/>
                    <a:pt x="151495" y="245900"/>
                    <a:pt x="116041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4" y="65850"/>
                    <a:pt x="139982" y="45125"/>
                    <a:pt x="109125" y="45125"/>
                  </a:cubicBezTo>
                  <a:cubicBezTo>
                    <a:pt x="78746" y="45134"/>
                    <a:pt x="59402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3" name="Freihandform: Form 252">
              <a:extLst>
                <a:ext uri="{FF2B5EF4-FFF2-40B4-BE49-F238E27FC236}">
                  <a16:creationId xmlns:a16="http://schemas.microsoft.com/office/drawing/2014/main" id="{C3503F79-8014-F34D-81A3-95D14825164D}"/>
                </a:ext>
              </a:extLst>
            </p:cNvPr>
            <p:cNvSpPr/>
            <p:nvPr/>
          </p:nvSpPr>
          <p:spPr>
            <a:xfrm>
              <a:off x="5999489" y="2447663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4" name="Freihandform: Form 253">
              <a:extLst>
                <a:ext uri="{FF2B5EF4-FFF2-40B4-BE49-F238E27FC236}">
                  <a16:creationId xmlns:a16="http://schemas.microsoft.com/office/drawing/2014/main" id="{01242C23-F6AF-0D4E-B856-CA42B9F54609}"/>
                </a:ext>
              </a:extLst>
            </p:cNvPr>
            <p:cNvSpPr/>
            <p:nvPr/>
          </p:nvSpPr>
          <p:spPr>
            <a:xfrm>
              <a:off x="6120438" y="2545760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8 w 197542"/>
                <a:gd name="connsiteY1" fmla="*/ 245900 h 245899"/>
                <a:gd name="connsiteX2" fmla="*/ 0 w 197542"/>
                <a:gd name="connsiteY2" fmla="*/ 123871 h 245899"/>
                <a:gd name="connsiteX3" fmla="*/ 113279 w 197542"/>
                <a:gd name="connsiteY3" fmla="*/ 0 h 245899"/>
                <a:gd name="connsiteX4" fmla="*/ 197542 w 197542"/>
                <a:gd name="connsiteY4" fmla="*/ 40059 h 245899"/>
                <a:gd name="connsiteX5" fmla="*/ 159778 w 197542"/>
                <a:gd name="connsiteY5" fmla="*/ 75974 h 245899"/>
                <a:gd name="connsiteX6" fmla="*/ 112810 w 197542"/>
                <a:gd name="connsiteY6" fmla="*/ 50191 h 245899"/>
                <a:gd name="connsiteX7" fmla="*/ 54789 w 197542"/>
                <a:gd name="connsiteY7" fmla="*/ 122942 h 245899"/>
                <a:gd name="connsiteX8" fmla="*/ 112349 w 197542"/>
                <a:gd name="connsiteY8" fmla="*/ 196161 h 245899"/>
                <a:gd name="connsiteX9" fmla="*/ 160699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8" y="245900"/>
                    <a:pt x="112358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9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8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9" y="78737"/>
                    <a:pt x="54789" y="122942"/>
                  </a:cubicBezTo>
                  <a:cubicBezTo>
                    <a:pt x="54789" y="166694"/>
                    <a:pt x="78277" y="196161"/>
                    <a:pt x="112349" y="196161"/>
                  </a:cubicBezTo>
                  <a:cubicBezTo>
                    <a:pt x="130763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5" name="Freihandform: Form 254">
              <a:extLst>
                <a:ext uri="{FF2B5EF4-FFF2-40B4-BE49-F238E27FC236}">
                  <a16:creationId xmlns:a16="http://schemas.microsoft.com/office/drawing/2014/main" id="{4CA1F2F5-DC2F-794B-9A56-DF56538018F3}"/>
                </a:ext>
              </a:extLst>
            </p:cNvPr>
            <p:cNvSpPr/>
            <p:nvPr/>
          </p:nvSpPr>
          <p:spPr>
            <a:xfrm>
              <a:off x="6364973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8 h 342598"/>
                <a:gd name="connsiteX10" fmla="*/ 55719 w 201695"/>
                <a:gd name="connsiteY10" fmla="*/ 136298 h 342598"/>
                <a:gd name="connsiteX11" fmla="*/ 124324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8"/>
                  </a:lnTo>
                  <a:lnTo>
                    <a:pt x="55719" y="136298"/>
                  </a:lnTo>
                  <a:cubicBezTo>
                    <a:pt x="69074" y="115573"/>
                    <a:pt x="93483" y="102225"/>
                    <a:pt x="124324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6" name="Freihandform: Form 255">
              <a:extLst>
                <a:ext uri="{FF2B5EF4-FFF2-40B4-BE49-F238E27FC236}">
                  <a16:creationId xmlns:a16="http://schemas.microsoft.com/office/drawing/2014/main" id="{D6DCBF28-06AD-9D4B-849B-0C1AD6B0A7F3}"/>
                </a:ext>
              </a:extLst>
            </p:cNvPr>
            <p:cNvSpPr/>
            <p:nvPr/>
          </p:nvSpPr>
          <p:spPr>
            <a:xfrm>
              <a:off x="6751826" y="2461940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9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2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9 w 398768"/>
                <a:gd name="connsiteY9" fmla="*/ 0 h 324184"/>
                <a:gd name="connsiteX10" fmla="*/ 317260 w 398768"/>
                <a:gd name="connsiteY10" fmla="*/ 324185 h 324184"/>
                <a:gd name="connsiteX11" fmla="*/ 257858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9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2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9" y="0"/>
                  </a:lnTo>
                  <a:lnTo>
                    <a:pt x="317260" y="324185"/>
                  </a:lnTo>
                  <a:lnTo>
                    <a:pt x="257858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7" name="Freihandform: Form 256">
              <a:extLst>
                <a:ext uri="{FF2B5EF4-FFF2-40B4-BE49-F238E27FC236}">
                  <a16:creationId xmlns:a16="http://schemas.microsoft.com/office/drawing/2014/main" id="{5B0B90D1-8D4F-EF4E-9979-19365E5D27C9}"/>
                </a:ext>
              </a:extLst>
            </p:cNvPr>
            <p:cNvSpPr/>
            <p:nvPr/>
          </p:nvSpPr>
          <p:spPr>
            <a:xfrm>
              <a:off x="7196759" y="2447663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8" name="Freihandform: Form 257">
              <a:extLst>
                <a:ext uri="{FF2B5EF4-FFF2-40B4-BE49-F238E27FC236}">
                  <a16:creationId xmlns:a16="http://schemas.microsoft.com/office/drawing/2014/main" id="{BE10948C-97EB-A442-9B65-93A193D2BB80}"/>
                </a:ext>
              </a:extLst>
            </p:cNvPr>
            <p:cNvSpPr/>
            <p:nvPr/>
          </p:nvSpPr>
          <p:spPr>
            <a:xfrm>
              <a:off x="7330586" y="2545769"/>
              <a:ext cx="141832" cy="240365"/>
            </a:xfrm>
            <a:custGeom>
              <a:avLst/>
              <a:gdLst>
                <a:gd name="connsiteX0" fmla="*/ 141832 w 141832"/>
                <a:gd name="connsiteY0" fmla="*/ 5049 h 240365"/>
                <a:gd name="connsiteX1" fmla="*/ 133082 w 141832"/>
                <a:gd name="connsiteY1" fmla="*/ 61228 h 240365"/>
                <a:gd name="connsiteX2" fmla="*/ 102694 w 141832"/>
                <a:gd name="connsiteY2" fmla="*/ 53859 h 240365"/>
                <a:gd name="connsiteX3" fmla="*/ 54797 w 141832"/>
                <a:gd name="connsiteY3" fmla="*/ 120170 h 240365"/>
                <a:gd name="connsiteX4" fmla="*/ 54797 w 141832"/>
                <a:gd name="connsiteY4" fmla="*/ 240365 h 240365"/>
                <a:gd name="connsiteX5" fmla="*/ 0 w 141832"/>
                <a:gd name="connsiteY5" fmla="*/ 240365 h 240365"/>
                <a:gd name="connsiteX6" fmla="*/ 0 w 141832"/>
                <a:gd name="connsiteY6" fmla="*/ 5979 h 240365"/>
                <a:gd name="connsiteX7" fmla="*/ 53876 w 141832"/>
                <a:gd name="connsiteY7" fmla="*/ 5979 h 240365"/>
                <a:gd name="connsiteX8" fmla="*/ 53876 w 141832"/>
                <a:gd name="connsiteY8" fmla="*/ 35454 h 240365"/>
                <a:gd name="connsiteX9" fmla="*/ 54797 w 141832"/>
                <a:gd name="connsiteY9" fmla="*/ 35454 h 240365"/>
                <a:gd name="connsiteX10" fmla="*/ 116041 w 141832"/>
                <a:gd name="connsiteY10" fmla="*/ 0 h 240365"/>
                <a:gd name="connsiteX11" fmla="*/ 141832 w 141832"/>
                <a:gd name="connsiteY11" fmla="*/ 5049 h 240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832" h="240365">
                  <a:moveTo>
                    <a:pt x="141832" y="5049"/>
                  </a:moveTo>
                  <a:lnTo>
                    <a:pt x="133082" y="61228"/>
                  </a:lnTo>
                  <a:cubicBezTo>
                    <a:pt x="124792" y="56623"/>
                    <a:pt x="114668" y="53859"/>
                    <a:pt x="102694" y="53859"/>
                  </a:cubicBezTo>
                  <a:cubicBezTo>
                    <a:pt x="64929" y="53859"/>
                    <a:pt x="54797" y="84256"/>
                    <a:pt x="54797" y="120170"/>
                  </a:cubicBezTo>
                  <a:lnTo>
                    <a:pt x="54797" y="240365"/>
                  </a:lnTo>
                  <a:lnTo>
                    <a:pt x="0" y="240365"/>
                  </a:lnTo>
                  <a:lnTo>
                    <a:pt x="0" y="5979"/>
                  </a:lnTo>
                  <a:lnTo>
                    <a:pt x="53876" y="5979"/>
                  </a:lnTo>
                  <a:lnTo>
                    <a:pt x="53876" y="35454"/>
                  </a:lnTo>
                  <a:lnTo>
                    <a:pt x="54797" y="35454"/>
                  </a:lnTo>
                  <a:cubicBezTo>
                    <a:pt x="67223" y="13348"/>
                    <a:pt x="89330" y="0"/>
                    <a:pt x="116041" y="0"/>
                  </a:cubicBezTo>
                  <a:cubicBezTo>
                    <a:pt x="123871" y="-17"/>
                    <a:pt x="133543" y="1365"/>
                    <a:pt x="141832" y="504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9" name="Freihandform: Form 258">
              <a:extLst>
                <a:ext uri="{FF2B5EF4-FFF2-40B4-BE49-F238E27FC236}">
                  <a16:creationId xmlns:a16="http://schemas.microsoft.com/office/drawing/2014/main" id="{4C288427-37D2-FB4D-B408-246FF3E06988}"/>
                </a:ext>
              </a:extLst>
            </p:cNvPr>
            <p:cNvSpPr/>
            <p:nvPr/>
          </p:nvSpPr>
          <p:spPr>
            <a:xfrm>
              <a:off x="7506323" y="2475749"/>
              <a:ext cx="145977" cy="315903"/>
            </a:xfrm>
            <a:custGeom>
              <a:avLst/>
              <a:gdLst>
                <a:gd name="connsiteX0" fmla="*/ 145978 w 145977"/>
                <a:gd name="connsiteY0" fmla="*/ 260185 h 315903"/>
                <a:gd name="connsiteX1" fmla="*/ 145978 w 145977"/>
                <a:gd name="connsiteY1" fmla="*/ 307153 h 315903"/>
                <a:gd name="connsiteX2" fmla="*/ 99923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2 w 145977"/>
                <a:gd name="connsiteY15" fmla="*/ 268006 h 315903"/>
                <a:gd name="connsiteX16" fmla="*/ 145978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3" y="312680"/>
                    <a:pt x="116041" y="315903"/>
                    <a:pt x="99923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20" y="268006"/>
                    <a:pt x="115572" y="268006"/>
                  </a:cubicBezTo>
                  <a:cubicBezTo>
                    <a:pt x="125721" y="268015"/>
                    <a:pt x="136766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0" name="Freihandform: Form 259">
              <a:extLst>
                <a:ext uri="{FF2B5EF4-FFF2-40B4-BE49-F238E27FC236}">
                  <a16:creationId xmlns:a16="http://schemas.microsoft.com/office/drawing/2014/main" id="{6E0B30B8-8311-4245-A333-A8DCC8F1926B}"/>
                </a:ext>
              </a:extLst>
            </p:cNvPr>
            <p:cNvSpPr/>
            <p:nvPr/>
          </p:nvSpPr>
          <p:spPr>
            <a:xfrm>
              <a:off x="7691154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3" y="53415"/>
                    <a:pt x="115121" y="46499"/>
                    <a:pt x="97159" y="46499"/>
                  </a:cubicBezTo>
                  <a:cubicBezTo>
                    <a:pt x="76896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1" name="Freihandform: Form 260">
              <a:extLst>
                <a:ext uri="{FF2B5EF4-FFF2-40B4-BE49-F238E27FC236}">
                  <a16:creationId xmlns:a16="http://schemas.microsoft.com/office/drawing/2014/main" id="{462B3C2A-5B5A-E843-8BFD-8621A1CDE12D}"/>
                </a:ext>
              </a:extLst>
            </p:cNvPr>
            <p:cNvSpPr/>
            <p:nvPr/>
          </p:nvSpPr>
          <p:spPr>
            <a:xfrm>
              <a:off x="7916480" y="2545760"/>
              <a:ext cx="197541" cy="245899"/>
            </a:xfrm>
            <a:custGeom>
              <a:avLst/>
              <a:gdLst>
                <a:gd name="connsiteX0" fmla="*/ 196169 w 197541"/>
                <a:gd name="connsiteY0" fmla="*/ 208135 h 245899"/>
                <a:gd name="connsiteX1" fmla="*/ 112357 w 197541"/>
                <a:gd name="connsiteY1" fmla="*/ 245900 h 245899"/>
                <a:gd name="connsiteX2" fmla="*/ 0 w 197541"/>
                <a:gd name="connsiteY2" fmla="*/ 123871 h 245899"/>
                <a:gd name="connsiteX3" fmla="*/ 113278 w 197541"/>
                <a:gd name="connsiteY3" fmla="*/ 0 h 245899"/>
                <a:gd name="connsiteX4" fmla="*/ 197542 w 197541"/>
                <a:gd name="connsiteY4" fmla="*/ 40059 h 245899"/>
                <a:gd name="connsiteX5" fmla="*/ 159777 w 197541"/>
                <a:gd name="connsiteY5" fmla="*/ 75974 h 245899"/>
                <a:gd name="connsiteX6" fmla="*/ 112810 w 197541"/>
                <a:gd name="connsiteY6" fmla="*/ 50191 h 245899"/>
                <a:gd name="connsiteX7" fmla="*/ 54788 w 197541"/>
                <a:gd name="connsiteY7" fmla="*/ 122942 h 245899"/>
                <a:gd name="connsiteX8" fmla="*/ 112349 w 197541"/>
                <a:gd name="connsiteY8" fmla="*/ 196161 h 245899"/>
                <a:gd name="connsiteX9" fmla="*/ 160699 w 197541"/>
                <a:gd name="connsiteY9" fmla="*/ 170370 h 245899"/>
                <a:gd name="connsiteX10" fmla="*/ 196169 w 197541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1" h="245899">
                  <a:moveTo>
                    <a:pt x="196169" y="208135"/>
                  </a:moveTo>
                  <a:cubicBezTo>
                    <a:pt x="172680" y="233926"/>
                    <a:pt x="145977" y="245900"/>
                    <a:pt x="112357" y="245900"/>
                  </a:cubicBezTo>
                  <a:cubicBezTo>
                    <a:pt x="45126" y="245900"/>
                    <a:pt x="0" y="197551"/>
                    <a:pt x="0" y="123871"/>
                  </a:cubicBezTo>
                  <a:cubicBezTo>
                    <a:pt x="0" y="50191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59"/>
                  </a:cubicBezTo>
                  <a:lnTo>
                    <a:pt x="159777" y="75974"/>
                  </a:lnTo>
                  <a:cubicBezTo>
                    <a:pt x="145969" y="58012"/>
                    <a:pt x="131231" y="50191"/>
                    <a:pt x="112810" y="50191"/>
                  </a:cubicBezTo>
                  <a:cubicBezTo>
                    <a:pt x="78277" y="50191"/>
                    <a:pt x="54788" y="78737"/>
                    <a:pt x="54788" y="122942"/>
                  </a:cubicBezTo>
                  <a:cubicBezTo>
                    <a:pt x="54788" y="166694"/>
                    <a:pt x="78277" y="196161"/>
                    <a:pt x="112349" y="196161"/>
                  </a:cubicBezTo>
                  <a:cubicBezTo>
                    <a:pt x="130762" y="196161"/>
                    <a:pt x="145500" y="187871"/>
                    <a:pt x="160699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Freihandform: Form 261">
              <a:extLst>
                <a:ext uri="{FF2B5EF4-FFF2-40B4-BE49-F238E27FC236}">
                  <a16:creationId xmlns:a16="http://schemas.microsoft.com/office/drawing/2014/main" id="{9458C6EE-D393-0446-A576-F9838D0740F1}"/>
                </a:ext>
              </a:extLst>
            </p:cNvPr>
            <p:cNvSpPr/>
            <p:nvPr/>
          </p:nvSpPr>
          <p:spPr>
            <a:xfrm>
              <a:off x="8161024" y="2443535"/>
              <a:ext cx="201695" cy="342598"/>
            </a:xfrm>
            <a:custGeom>
              <a:avLst/>
              <a:gdLst>
                <a:gd name="connsiteX0" fmla="*/ 201696 w 201695"/>
                <a:gd name="connsiteY0" fmla="*/ 342590 h 342598"/>
                <a:gd name="connsiteX1" fmla="*/ 146898 w 201695"/>
                <a:gd name="connsiteY1" fmla="*/ 342590 h 342598"/>
                <a:gd name="connsiteX2" fmla="*/ 146898 w 201695"/>
                <a:gd name="connsiteY2" fmla="*/ 208587 h 342598"/>
                <a:gd name="connsiteX3" fmla="*/ 103607 w 201695"/>
                <a:gd name="connsiteY3" fmla="*/ 151487 h 342598"/>
                <a:gd name="connsiteX4" fmla="*/ 54798 w 201695"/>
                <a:gd name="connsiteY4" fmla="*/ 208135 h 342598"/>
                <a:gd name="connsiteX5" fmla="*/ 54798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8 w 201695"/>
                <a:gd name="connsiteY8" fmla="*/ 0 h 342598"/>
                <a:gd name="connsiteX9" fmla="*/ 54798 w 201695"/>
                <a:gd name="connsiteY9" fmla="*/ 136298 h 342598"/>
                <a:gd name="connsiteX10" fmla="*/ 55719 w 201695"/>
                <a:gd name="connsiteY10" fmla="*/ 136298 h 342598"/>
                <a:gd name="connsiteX11" fmla="*/ 124332 w 201695"/>
                <a:gd name="connsiteY11" fmla="*/ 102225 h 342598"/>
                <a:gd name="connsiteX12" fmla="*/ 201688 w 201695"/>
                <a:gd name="connsiteY12" fmla="*/ 197082 h 342598"/>
                <a:gd name="connsiteX13" fmla="*/ 201688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6" y="342590"/>
                  </a:moveTo>
                  <a:lnTo>
                    <a:pt x="146898" y="342590"/>
                  </a:lnTo>
                  <a:lnTo>
                    <a:pt x="146898" y="208587"/>
                  </a:lnTo>
                  <a:cubicBezTo>
                    <a:pt x="146898" y="174054"/>
                    <a:pt x="136306" y="151487"/>
                    <a:pt x="103607" y="151487"/>
                  </a:cubicBezTo>
                  <a:cubicBezTo>
                    <a:pt x="65850" y="151487"/>
                    <a:pt x="54798" y="181423"/>
                    <a:pt x="54798" y="208135"/>
                  </a:cubicBezTo>
                  <a:lnTo>
                    <a:pt x="54798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8" y="0"/>
                  </a:lnTo>
                  <a:lnTo>
                    <a:pt x="54798" y="136298"/>
                  </a:lnTo>
                  <a:lnTo>
                    <a:pt x="55719" y="136298"/>
                  </a:lnTo>
                  <a:cubicBezTo>
                    <a:pt x="69074" y="115573"/>
                    <a:pt x="93484" y="102225"/>
                    <a:pt x="124332" y="102225"/>
                  </a:cubicBezTo>
                  <a:cubicBezTo>
                    <a:pt x="178660" y="102225"/>
                    <a:pt x="201688" y="142745"/>
                    <a:pt x="201688" y="197082"/>
                  </a:cubicBezTo>
                  <a:lnTo>
                    <a:pt x="201688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Freihandform: Form 262">
              <a:extLst>
                <a:ext uri="{FF2B5EF4-FFF2-40B4-BE49-F238E27FC236}">
                  <a16:creationId xmlns:a16="http://schemas.microsoft.com/office/drawing/2014/main" id="{CC1AC48D-45B3-3F4A-9BAE-9ECF8928E700}"/>
                </a:ext>
              </a:extLst>
            </p:cNvPr>
            <p:cNvSpPr/>
            <p:nvPr/>
          </p:nvSpPr>
          <p:spPr>
            <a:xfrm>
              <a:off x="8416729" y="2545752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40 w 198923"/>
                <a:gd name="connsiteY1" fmla="*/ 99922 h 245899"/>
                <a:gd name="connsiteX2" fmla="*/ 145040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6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495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26" y="94856"/>
                    <a:pt x="129851" y="95778"/>
                    <a:pt x="145040" y="99922"/>
                  </a:cubicBezTo>
                  <a:lnTo>
                    <a:pt x="145040" y="91633"/>
                  </a:lnTo>
                  <a:cubicBezTo>
                    <a:pt x="145040" y="61705"/>
                    <a:pt x="127539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2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6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28" y="204919"/>
                    <a:pt x="129851" y="195248"/>
                    <a:pt x="145048" y="176834"/>
                  </a:cubicBezTo>
                  <a:lnTo>
                    <a:pt x="145048" y="135845"/>
                  </a:lnTo>
                  <a:cubicBezTo>
                    <a:pt x="132152" y="132621"/>
                    <a:pt x="118797" y="131240"/>
                    <a:pt x="106831" y="131240"/>
                  </a:cubicBezTo>
                  <a:cubicBezTo>
                    <a:pt x="72298" y="131240"/>
                    <a:pt x="52495" y="145048"/>
                    <a:pt x="52495" y="169918"/>
                  </a:cubicBezTo>
                  <a:cubicBezTo>
                    <a:pt x="52486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Freihandform: Form 263">
              <a:extLst>
                <a:ext uri="{FF2B5EF4-FFF2-40B4-BE49-F238E27FC236}">
                  <a16:creationId xmlns:a16="http://schemas.microsoft.com/office/drawing/2014/main" id="{0381D8F0-FF8A-044E-8592-C7C2426E759F}"/>
                </a:ext>
              </a:extLst>
            </p:cNvPr>
            <p:cNvSpPr/>
            <p:nvPr/>
          </p:nvSpPr>
          <p:spPr>
            <a:xfrm>
              <a:off x="8659530" y="2440295"/>
              <a:ext cx="143667" cy="345830"/>
            </a:xfrm>
            <a:custGeom>
              <a:avLst/>
              <a:gdLst>
                <a:gd name="connsiteX0" fmla="*/ 143667 w 143667"/>
                <a:gd name="connsiteY0" fmla="*/ 51582 h 345830"/>
                <a:gd name="connsiteX1" fmla="*/ 119727 w 143667"/>
                <a:gd name="connsiteY1" fmla="*/ 46976 h 345830"/>
                <a:gd name="connsiteX2" fmla="*/ 90712 w 143667"/>
                <a:gd name="connsiteY2" fmla="*/ 79667 h 345830"/>
                <a:gd name="connsiteX3" fmla="*/ 90712 w 143667"/>
                <a:gd name="connsiteY3" fmla="*/ 111445 h 345830"/>
                <a:gd name="connsiteX4" fmla="*/ 137228 w 143667"/>
                <a:gd name="connsiteY4" fmla="*/ 111445 h 345830"/>
                <a:gd name="connsiteX5" fmla="*/ 137228 w 143667"/>
                <a:gd name="connsiteY5" fmla="*/ 157031 h 345830"/>
                <a:gd name="connsiteX6" fmla="*/ 91173 w 143667"/>
                <a:gd name="connsiteY6" fmla="*/ 157031 h 345830"/>
                <a:gd name="connsiteX7" fmla="*/ 91173 w 143667"/>
                <a:gd name="connsiteY7" fmla="*/ 345831 h 345830"/>
                <a:gd name="connsiteX8" fmla="*/ 36375 w 143667"/>
                <a:gd name="connsiteY8" fmla="*/ 345831 h 345830"/>
                <a:gd name="connsiteX9" fmla="*/ 36375 w 143667"/>
                <a:gd name="connsiteY9" fmla="*/ 157031 h 345830"/>
                <a:gd name="connsiteX10" fmla="*/ 0 w 143667"/>
                <a:gd name="connsiteY10" fmla="*/ 157031 h 345830"/>
                <a:gd name="connsiteX11" fmla="*/ 0 w 143667"/>
                <a:gd name="connsiteY11" fmla="*/ 111445 h 345830"/>
                <a:gd name="connsiteX12" fmla="*/ 36375 w 143667"/>
                <a:gd name="connsiteY12" fmla="*/ 111445 h 345830"/>
                <a:gd name="connsiteX13" fmla="*/ 36375 w 143667"/>
                <a:gd name="connsiteY13" fmla="*/ 77824 h 345830"/>
                <a:gd name="connsiteX14" fmla="*/ 110976 w 143667"/>
                <a:gd name="connsiteY14" fmla="*/ 0 h 345830"/>
                <a:gd name="connsiteX15" fmla="*/ 143667 w 143667"/>
                <a:gd name="connsiteY15" fmla="*/ 5066 h 345830"/>
                <a:gd name="connsiteX16" fmla="*/ 143667 w 143667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67" h="345830">
                  <a:moveTo>
                    <a:pt x="143667" y="51582"/>
                  </a:moveTo>
                  <a:cubicBezTo>
                    <a:pt x="136298" y="48358"/>
                    <a:pt x="127548" y="46976"/>
                    <a:pt x="119727" y="46976"/>
                  </a:cubicBezTo>
                  <a:cubicBezTo>
                    <a:pt x="99001" y="46976"/>
                    <a:pt x="90712" y="57569"/>
                    <a:pt x="90712" y="79667"/>
                  </a:cubicBezTo>
                  <a:lnTo>
                    <a:pt x="90712" y="111445"/>
                  </a:lnTo>
                  <a:lnTo>
                    <a:pt x="137228" y="111445"/>
                  </a:lnTo>
                  <a:lnTo>
                    <a:pt x="137228" y="157031"/>
                  </a:lnTo>
                  <a:lnTo>
                    <a:pt x="91173" y="157031"/>
                  </a:lnTo>
                  <a:lnTo>
                    <a:pt x="91173" y="345831"/>
                  </a:lnTo>
                  <a:lnTo>
                    <a:pt x="36375" y="345831"/>
                  </a:lnTo>
                  <a:lnTo>
                    <a:pt x="36375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75" y="111445"/>
                  </a:lnTo>
                  <a:lnTo>
                    <a:pt x="36375" y="77824"/>
                  </a:lnTo>
                  <a:cubicBezTo>
                    <a:pt x="36375" y="29015"/>
                    <a:pt x="58481" y="0"/>
                    <a:pt x="110976" y="0"/>
                  </a:cubicBezTo>
                  <a:cubicBezTo>
                    <a:pt x="122951" y="0"/>
                    <a:pt x="134465" y="1382"/>
                    <a:pt x="143667" y="5066"/>
                  </a:cubicBezTo>
                  <a:lnTo>
                    <a:pt x="143667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Freihandform: Form 264">
              <a:extLst>
                <a:ext uri="{FF2B5EF4-FFF2-40B4-BE49-F238E27FC236}">
                  <a16:creationId xmlns:a16="http://schemas.microsoft.com/office/drawing/2014/main" id="{5733C57A-4B8D-9E44-BAAB-39E2270882A9}"/>
                </a:ext>
              </a:extLst>
            </p:cNvPr>
            <p:cNvSpPr/>
            <p:nvPr/>
          </p:nvSpPr>
          <p:spPr>
            <a:xfrm>
              <a:off x="8832370" y="2475749"/>
              <a:ext cx="145978" cy="315903"/>
            </a:xfrm>
            <a:custGeom>
              <a:avLst/>
              <a:gdLst>
                <a:gd name="connsiteX0" fmla="*/ 145978 w 145978"/>
                <a:gd name="connsiteY0" fmla="*/ 260185 h 315903"/>
                <a:gd name="connsiteX1" fmla="*/ 145978 w 145978"/>
                <a:gd name="connsiteY1" fmla="*/ 307153 h 315903"/>
                <a:gd name="connsiteX2" fmla="*/ 99923 w 145978"/>
                <a:gd name="connsiteY2" fmla="*/ 315903 h 315903"/>
                <a:gd name="connsiteX3" fmla="*/ 35915 w 145978"/>
                <a:gd name="connsiteY3" fmla="*/ 250053 h 315903"/>
                <a:gd name="connsiteX4" fmla="*/ 35915 w 145978"/>
                <a:gd name="connsiteY4" fmla="*/ 121577 h 315903"/>
                <a:gd name="connsiteX5" fmla="*/ 0 w 145978"/>
                <a:gd name="connsiteY5" fmla="*/ 121577 h 315903"/>
                <a:gd name="connsiteX6" fmla="*/ 0 w 145978"/>
                <a:gd name="connsiteY6" fmla="*/ 75991 h 315903"/>
                <a:gd name="connsiteX7" fmla="*/ 35454 w 145978"/>
                <a:gd name="connsiteY7" fmla="*/ 75991 h 315903"/>
                <a:gd name="connsiteX8" fmla="*/ 35454 w 145978"/>
                <a:gd name="connsiteY8" fmla="*/ 11983 h 315903"/>
                <a:gd name="connsiteX9" fmla="*/ 90252 w 145978"/>
                <a:gd name="connsiteY9" fmla="*/ 0 h 315903"/>
                <a:gd name="connsiteX10" fmla="*/ 90252 w 145978"/>
                <a:gd name="connsiteY10" fmla="*/ 75982 h 315903"/>
                <a:gd name="connsiteX11" fmla="*/ 145969 w 145978"/>
                <a:gd name="connsiteY11" fmla="*/ 75982 h 315903"/>
                <a:gd name="connsiteX12" fmla="*/ 145969 w 145978"/>
                <a:gd name="connsiteY12" fmla="*/ 121568 h 315903"/>
                <a:gd name="connsiteX13" fmla="*/ 90252 w 145978"/>
                <a:gd name="connsiteY13" fmla="*/ 121568 h 315903"/>
                <a:gd name="connsiteX14" fmla="*/ 90252 w 145978"/>
                <a:gd name="connsiteY14" fmla="*/ 237149 h 315903"/>
                <a:gd name="connsiteX15" fmla="*/ 115573 w 145978"/>
                <a:gd name="connsiteY15" fmla="*/ 268006 h 315903"/>
                <a:gd name="connsiteX16" fmla="*/ 145978 w 145978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8" h="315903">
                  <a:moveTo>
                    <a:pt x="145978" y="260185"/>
                  </a:moveTo>
                  <a:lnTo>
                    <a:pt x="145978" y="307153"/>
                  </a:lnTo>
                  <a:cubicBezTo>
                    <a:pt x="134004" y="312680"/>
                    <a:pt x="116042" y="315903"/>
                    <a:pt x="99923" y="315903"/>
                  </a:cubicBezTo>
                  <a:cubicBezTo>
                    <a:pt x="58481" y="315903"/>
                    <a:pt x="35915" y="292876"/>
                    <a:pt x="35915" y="250053"/>
                  </a:cubicBezTo>
                  <a:lnTo>
                    <a:pt x="35915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2" y="0"/>
                  </a:lnTo>
                  <a:lnTo>
                    <a:pt x="90252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2" y="121568"/>
                  </a:lnTo>
                  <a:lnTo>
                    <a:pt x="90252" y="237149"/>
                  </a:lnTo>
                  <a:cubicBezTo>
                    <a:pt x="90252" y="258795"/>
                    <a:pt x="97620" y="268006"/>
                    <a:pt x="115573" y="268006"/>
                  </a:cubicBezTo>
                  <a:cubicBezTo>
                    <a:pt x="125714" y="268015"/>
                    <a:pt x="136758" y="264791"/>
                    <a:pt x="145978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Freihandform: Form 265">
              <a:extLst>
                <a:ext uri="{FF2B5EF4-FFF2-40B4-BE49-F238E27FC236}">
                  <a16:creationId xmlns:a16="http://schemas.microsoft.com/office/drawing/2014/main" id="{74B88222-7231-1E47-914A-5A89420805C7}"/>
                </a:ext>
              </a:extLst>
            </p:cNvPr>
            <p:cNvSpPr/>
            <p:nvPr/>
          </p:nvSpPr>
          <p:spPr>
            <a:xfrm>
              <a:off x="9017185" y="2545752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4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2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3" y="191563"/>
                    <a:pt x="71821" y="200314"/>
                    <a:pt x="92545" y="200314"/>
                  </a:cubicBezTo>
                  <a:cubicBezTo>
                    <a:pt x="112810" y="200314"/>
                    <a:pt x="127078" y="191103"/>
                    <a:pt x="127078" y="176826"/>
                  </a:cubicBezTo>
                  <a:cubicBezTo>
                    <a:pt x="127078" y="136766"/>
                    <a:pt x="9664" y="151035"/>
                    <a:pt x="9664" y="72750"/>
                  </a:cubicBezTo>
                  <a:cubicBezTo>
                    <a:pt x="9664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8" y="24401"/>
                  </a:cubicBezTo>
                  <a:lnTo>
                    <a:pt x="153338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2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Freihandform: Form 266">
              <a:extLst>
                <a:ext uri="{FF2B5EF4-FFF2-40B4-BE49-F238E27FC236}">
                  <a16:creationId xmlns:a16="http://schemas.microsoft.com/office/drawing/2014/main" id="{9DA20F80-F615-0048-B7B4-35869E352513}"/>
                </a:ext>
              </a:extLst>
            </p:cNvPr>
            <p:cNvSpPr/>
            <p:nvPr/>
          </p:nvSpPr>
          <p:spPr>
            <a:xfrm>
              <a:off x="9240728" y="2616208"/>
              <a:ext cx="115119" cy="52033"/>
            </a:xfrm>
            <a:custGeom>
              <a:avLst/>
              <a:gdLst>
                <a:gd name="connsiteX0" fmla="*/ 115120 w 115119"/>
                <a:gd name="connsiteY0" fmla="*/ 52034 h 52033"/>
                <a:gd name="connsiteX1" fmla="*/ 0 w 115119"/>
                <a:gd name="connsiteY1" fmla="*/ 52034 h 52033"/>
                <a:gd name="connsiteX2" fmla="*/ 0 w 115119"/>
                <a:gd name="connsiteY2" fmla="*/ 0 h 52033"/>
                <a:gd name="connsiteX3" fmla="*/ 115120 w 115119"/>
                <a:gd name="connsiteY3" fmla="*/ 0 h 52033"/>
                <a:gd name="connsiteX4" fmla="*/ 115120 w 115119"/>
                <a:gd name="connsiteY4" fmla="*/ 52034 h 5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119" h="52033">
                  <a:moveTo>
                    <a:pt x="115120" y="52034"/>
                  </a:moveTo>
                  <a:lnTo>
                    <a:pt x="0" y="52034"/>
                  </a:lnTo>
                  <a:lnTo>
                    <a:pt x="0" y="0"/>
                  </a:lnTo>
                  <a:lnTo>
                    <a:pt x="115120" y="0"/>
                  </a:lnTo>
                  <a:lnTo>
                    <a:pt x="115120" y="52034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Freihandform: Form 267">
              <a:extLst>
                <a:ext uri="{FF2B5EF4-FFF2-40B4-BE49-F238E27FC236}">
                  <a16:creationId xmlns:a16="http://schemas.microsoft.com/office/drawing/2014/main" id="{528D026C-5241-8C4D-8B0B-D13CD139AFE5}"/>
                </a:ext>
              </a:extLst>
            </p:cNvPr>
            <p:cNvSpPr/>
            <p:nvPr/>
          </p:nvSpPr>
          <p:spPr>
            <a:xfrm>
              <a:off x="9550208" y="2551739"/>
              <a:ext cx="201686" cy="239921"/>
            </a:xfrm>
            <a:custGeom>
              <a:avLst/>
              <a:gdLst>
                <a:gd name="connsiteX0" fmla="*/ 54797 w 201686"/>
                <a:gd name="connsiteY0" fmla="*/ 140911 h 239921"/>
                <a:gd name="connsiteX1" fmla="*/ 101304 w 201686"/>
                <a:gd name="connsiteY1" fmla="*/ 190182 h 239921"/>
                <a:gd name="connsiteX2" fmla="*/ 146890 w 201686"/>
                <a:gd name="connsiteY2" fmla="*/ 140451 h 239921"/>
                <a:gd name="connsiteX3" fmla="*/ 146890 w 201686"/>
                <a:gd name="connsiteY3" fmla="*/ 8 h 239921"/>
                <a:gd name="connsiteX4" fmla="*/ 201687 w 201686"/>
                <a:gd name="connsiteY4" fmla="*/ 8 h 239921"/>
                <a:gd name="connsiteX5" fmla="*/ 201687 w 201686"/>
                <a:gd name="connsiteY5" fmla="*/ 142301 h 239921"/>
                <a:gd name="connsiteX6" fmla="*/ 102685 w 201686"/>
                <a:gd name="connsiteY6" fmla="*/ 239921 h 239921"/>
                <a:gd name="connsiteX7" fmla="*/ 0 w 201686"/>
                <a:gd name="connsiteY7" fmla="*/ 142754 h 239921"/>
                <a:gd name="connsiteX8" fmla="*/ 0 w 201686"/>
                <a:gd name="connsiteY8" fmla="*/ 0 h 239921"/>
                <a:gd name="connsiteX9" fmla="*/ 54797 w 201686"/>
                <a:gd name="connsiteY9" fmla="*/ 0 h 239921"/>
                <a:gd name="connsiteX10" fmla="*/ 54797 w 201686"/>
                <a:gd name="connsiteY10" fmla="*/ 140911 h 239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1686" h="239921">
                  <a:moveTo>
                    <a:pt x="54797" y="140911"/>
                  </a:moveTo>
                  <a:cubicBezTo>
                    <a:pt x="54797" y="173141"/>
                    <a:pt x="70916" y="190182"/>
                    <a:pt x="101304" y="190182"/>
                  </a:cubicBezTo>
                  <a:cubicBezTo>
                    <a:pt x="131240" y="190182"/>
                    <a:pt x="146890" y="173610"/>
                    <a:pt x="146890" y="140451"/>
                  </a:cubicBezTo>
                  <a:lnTo>
                    <a:pt x="146890" y="8"/>
                  </a:lnTo>
                  <a:lnTo>
                    <a:pt x="201687" y="8"/>
                  </a:lnTo>
                  <a:lnTo>
                    <a:pt x="201687" y="142301"/>
                  </a:lnTo>
                  <a:cubicBezTo>
                    <a:pt x="201687" y="203998"/>
                    <a:pt x="167155" y="239921"/>
                    <a:pt x="102685" y="239921"/>
                  </a:cubicBezTo>
                  <a:cubicBezTo>
                    <a:pt x="38678" y="239921"/>
                    <a:pt x="0" y="203998"/>
                    <a:pt x="0" y="142754"/>
                  </a:cubicBezTo>
                  <a:lnTo>
                    <a:pt x="0" y="0"/>
                  </a:lnTo>
                  <a:lnTo>
                    <a:pt x="54797" y="0"/>
                  </a:lnTo>
                  <a:lnTo>
                    <a:pt x="54797" y="14091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9" name="Freihandform: Form 268">
              <a:extLst>
                <a:ext uri="{FF2B5EF4-FFF2-40B4-BE49-F238E27FC236}">
                  <a16:creationId xmlns:a16="http://schemas.microsoft.com/office/drawing/2014/main" id="{EFCD1579-3F04-2A4C-BFDA-8EFFBDE8E1D4}"/>
                </a:ext>
              </a:extLst>
            </p:cNvPr>
            <p:cNvSpPr/>
            <p:nvPr/>
          </p:nvSpPr>
          <p:spPr>
            <a:xfrm>
              <a:off x="9821371" y="2545760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89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0" name="Freihandform: Form 269">
              <a:extLst>
                <a:ext uri="{FF2B5EF4-FFF2-40B4-BE49-F238E27FC236}">
                  <a16:creationId xmlns:a16="http://schemas.microsoft.com/office/drawing/2014/main" id="{8791EAE5-AAA2-514D-93E0-615D9DDC4BAF}"/>
                </a:ext>
              </a:extLst>
            </p:cNvPr>
            <p:cNvSpPr/>
            <p:nvPr/>
          </p:nvSpPr>
          <p:spPr>
            <a:xfrm>
              <a:off x="10081021" y="2443527"/>
              <a:ext cx="219196" cy="348125"/>
            </a:xfrm>
            <a:custGeom>
              <a:avLst/>
              <a:gdLst>
                <a:gd name="connsiteX0" fmla="*/ 0 w 219196"/>
                <a:gd name="connsiteY0" fmla="*/ 224715 h 348125"/>
                <a:gd name="connsiteX1" fmla="*/ 95326 w 219196"/>
                <a:gd name="connsiteY1" fmla="*/ 102225 h 348125"/>
                <a:gd name="connsiteX2" fmla="*/ 163478 w 219196"/>
                <a:gd name="connsiteY2" fmla="*/ 133995 h 348125"/>
                <a:gd name="connsiteX3" fmla="*/ 164399 w 219196"/>
                <a:gd name="connsiteY3" fmla="*/ 133995 h 348125"/>
                <a:gd name="connsiteX4" fmla="*/ 164399 w 219196"/>
                <a:gd name="connsiteY4" fmla="*/ 13808 h 348125"/>
                <a:gd name="connsiteX5" fmla="*/ 219196 w 219196"/>
                <a:gd name="connsiteY5" fmla="*/ 0 h 348125"/>
                <a:gd name="connsiteX6" fmla="*/ 219196 w 219196"/>
                <a:gd name="connsiteY6" fmla="*/ 342598 h 348125"/>
                <a:gd name="connsiteX7" fmla="*/ 165781 w 219196"/>
                <a:gd name="connsiteY7" fmla="*/ 342598 h 348125"/>
                <a:gd name="connsiteX8" fmla="*/ 165781 w 219196"/>
                <a:gd name="connsiteY8" fmla="*/ 314965 h 348125"/>
                <a:gd name="connsiteX9" fmla="*/ 164860 w 219196"/>
                <a:gd name="connsiteY9" fmla="*/ 314965 h 348125"/>
                <a:gd name="connsiteX10" fmla="*/ 94405 w 219196"/>
                <a:gd name="connsiteY10" fmla="*/ 348125 h 348125"/>
                <a:gd name="connsiteX11" fmla="*/ 0 w 219196"/>
                <a:gd name="connsiteY11" fmla="*/ 224715 h 348125"/>
                <a:gd name="connsiteX12" fmla="*/ 54345 w 219196"/>
                <a:gd name="connsiteY12" fmla="*/ 224715 h 348125"/>
                <a:gd name="connsiteX13" fmla="*/ 108681 w 219196"/>
                <a:gd name="connsiteY13" fmla="*/ 299776 h 348125"/>
                <a:gd name="connsiteX14" fmla="*/ 164399 w 219196"/>
                <a:gd name="connsiteY14" fmla="*/ 268919 h 348125"/>
                <a:gd name="connsiteX15" fmla="*/ 164399 w 219196"/>
                <a:gd name="connsiteY15" fmla="*/ 183265 h 348125"/>
                <a:gd name="connsiteX16" fmla="*/ 108681 w 219196"/>
                <a:gd name="connsiteY16" fmla="*/ 151956 h 348125"/>
                <a:gd name="connsiteX17" fmla="*/ 54345 w 219196"/>
                <a:gd name="connsiteY17" fmla="*/ 224715 h 34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196" h="348125">
                  <a:moveTo>
                    <a:pt x="0" y="224715"/>
                  </a:moveTo>
                  <a:cubicBezTo>
                    <a:pt x="0" y="149193"/>
                    <a:pt x="38217" y="102225"/>
                    <a:pt x="95326" y="102225"/>
                  </a:cubicBezTo>
                  <a:cubicBezTo>
                    <a:pt x="124801" y="102225"/>
                    <a:pt x="147828" y="114652"/>
                    <a:pt x="163478" y="133995"/>
                  </a:cubicBezTo>
                  <a:lnTo>
                    <a:pt x="164399" y="133995"/>
                  </a:lnTo>
                  <a:lnTo>
                    <a:pt x="164399" y="13808"/>
                  </a:lnTo>
                  <a:lnTo>
                    <a:pt x="219196" y="0"/>
                  </a:lnTo>
                  <a:lnTo>
                    <a:pt x="219196" y="342598"/>
                  </a:lnTo>
                  <a:lnTo>
                    <a:pt x="165781" y="342598"/>
                  </a:lnTo>
                  <a:lnTo>
                    <a:pt x="165781" y="314965"/>
                  </a:lnTo>
                  <a:lnTo>
                    <a:pt x="164860" y="314965"/>
                  </a:lnTo>
                  <a:cubicBezTo>
                    <a:pt x="147828" y="335690"/>
                    <a:pt x="123419" y="348125"/>
                    <a:pt x="94405" y="348125"/>
                  </a:cubicBezTo>
                  <a:cubicBezTo>
                    <a:pt x="38686" y="348125"/>
                    <a:pt x="0" y="300697"/>
                    <a:pt x="0" y="224715"/>
                  </a:cubicBezTo>
                  <a:close/>
                  <a:moveTo>
                    <a:pt x="54345" y="224715"/>
                  </a:moveTo>
                  <a:cubicBezTo>
                    <a:pt x="54345" y="272603"/>
                    <a:pt x="74148" y="299776"/>
                    <a:pt x="108681" y="299776"/>
                  </a:cubicBezTo>
                  <a:cubicBezTo>
                    <a:pt x="129867" y="299776"/>
                    <a:pt x="147359" y="289644"/>
                    <a:pt x="164399" y="268919"/>
                  </a:cubicBezTo>
                  <a:lnTo>
                    <a:pt x="164399" y="183265"/>
                  </a:lnTo>
                  <a:cubicBezTo>
                    <a:pt x="148740" y="162088"/>
                    <a:pt x="130780" y="151956"/>
                    <a:pt x="108681" y="151956"/>
                  </a:cubicBezTo>
                  <a:cubicBezTo>
                    <a:pt x="73227" y="151965"/>
                    <a:pt x="54345" y="177747"/>
                    <a:pt x="54345" y="22471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270">
              <a:extLst>
                <a:ext uri="{FF2B5EF4-FFF2-40B4-BE49-F238E27FC236}">
                  <a16:creationId xmlns:a16="http://schemas.microsoft.com/office/drawing/2014/main" id="{00DC3CCC-B352-A04E-921E-1B8C185397FB}"/>
                </a:ext>
              </a:extLst>
            </p:cNvPr>
            <p:cNvSpPr/>
            <p:nvPr/>
          </p:nvSpPr>
          <p:spPr>
            <a:xfrm>
              <a:off x="4011188" y="2963018"/>
              <a:ext cx="227478" cy="335246"/>
            </a:xfrm>
            <a:custGeom>
              <a:avLst/>
              <a:gdLst>
                <a:gd name="connsiteX0" fmla="*/ 36383 w 227478"/>
                <a:gd name="connsiteY0" fmla="*/ 245900 h 335246"/>
                <a:gd name="connsiteX1" fmla="*/ 116963 w 227478"/>
                <a:gd name="connsiteY1" fmla="*/ 282283 h 335246"/>
                <a:gd name="connsiteX2" fmla="*/ 169465 w 227478"/>
                <a:gd name="connsiteY2" fmla="*/ 241755 h 335246"/>
                <a:gd name="connsiteX3" fmla="*/ 10593 w 227478"/>
                <a:gd name="connsiteY3" fmla="*/ 93944 h 335246"/>
                <a:gd name="connsiteX4" fmla="*/ 120656 w 227478"/>
                <a:gd name="connsiteY4" fmla="*/ 0 h 335246"/>
                <a:gd name="connsiteX5" fmla="*/ 225183 w 227478"/>
                <a:gd name="connsiteY5" fmla="*/ 39147 h 335246"/>
                <a:gd name="connsiteX6" fmla="*/ 188800 w 227478"/>
                <a:gd name="connsiteY6" fmla="*/ 83812 h 335246"/>
                <a:gd name="connsiteX7" fmla="*/ 117884 w 227478"/>
                <a:gd name="connsiteY7" fmla="*/ 52503 h 335246"/>
                <a:gd name="connsiteX8" fmla="*/ 68613 w 227478"/>
                <a:gd name="connsiteY8" fmla="*/ 88886 h 335246"/>
                <a:gd name="connsiteX9" fmla="*/ 227478 w 227478"/>
                <a:gd name="connsiteY9" fmla="*/ 237158 h 335246"/>
                <a:gd name="connsiteX10" fmla="*/ 115590 w 227478"/>
                <a:gd name="connsiteY10" fmla="*/ 335246 h 335246"/>
                <a:gd name="connsiteX11" fmla="*/ 0 w 227478"/>
                <a:gd name="connsiteY11" fmla="*/ 290573 h 335246"/>
                <a:gd name="connsiteX12" fmla="*/ 36383 w 227478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78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63" y="282283"/>
                  </a:cubicBezTo>
                  <a:cubicBezTo>
                    <a:pt x="147359" y="282283"/>
                    <a:pt x="169465" y="265243"/>
                    <a:pt x="169465" y="241755"/>
                  </a:cubicBezTo>
                  <a:cubicBezTo>
                    <a:pt x="169465" y="179589"/>
                    <a:pt x="10593" y="198932"/>
                    <a:pt x="10593" y="93944"/>
                  </a:cubicBezTo>
                  <a:cubicBezTo>
                    <a:pt x="10593" y="38226"/>
                    <a:pt x="55726" y="0"/>
                    <a:pt x="120656" y="0"/>
                  </a:cubicBezTo>
                  <a:cubicBezTo>
                    <a:pt x="159333" y="0"/>
                    <a:pt x="195256" y="13356"/>
                    <a:pt x="225183" y="39147"/>
                  </a:cubicBezTo>
                  <a:lnTo>
                    <a:pt x="188800" y="83812"/>
                  </a:lnTo>
                  <a:cubicBezTo>
                    <a:pt x="165312" y="63087"/>
                    <a:pt x="141832" y="52503"/>
                    <a:pt x="117884" y="52503"/>
                  </a:cubicBezTo>
                  <a:cubicBezTo>
                    <a:pt x="89338" y="52503"/>
                    <a:pt x="68613" y="67692"/>
                    <a:pt x="68613" y="88886"/>
                  </a:cubicBezTo>
                  <a:cubicBezTo>
                    <a:pt x="68613" y="147359"/>
                    <a:pt x="227478" y="128024"/>
                    <a:pt x="227478" y="237158"/>
                  </a:cubicBezTo>
                  <a:cubicBezTo>
                    <a:pt x="227478" y="295639"/>
                    <a:pt x="182352" y="335246"/>
                    <a:pt x="115590" y="335246"/>
                  </a:cubicBezTo>
                  <a:cubicBezTo>
                    <a:pt x="72758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2" name="Freihandform: Form 271">
              <a:extLst>
                <a:ext uri="{FF2B5EF4-FFF2-40B4-BE49-F238E27FC236}">
                  <a16:creationId xmlns:a16="http://schemas.microsoft.com/office/drawing/2014/main" id="{44221BFB-0764-814E-A707-D05F85FE776C}"/>
                </a:ext>
              </a:extLst>
            </p:cNvPr>
            <p:cNvSpPr/>
            <p:nvPr/>
          </p:nvSpPr>
          <p:spPr>
            <a:xfrm>
              <a:off x="4287334" y="3052356"/>
              <a:ext cx="225644" cy="245908"/>
            </a:xfrm>
            <a:custGeom>
              <a:avLst/>
              <a:gdLst>
                <a:gd name="connsiteX0" fmla="*/ 0 w 225644"/>
                <a:gd name="connsiteY0" fmla="*/ 122950 h 245908"/>
                <a:gd name="connsiteX1" fmla="*/ 113748 w 225644"/>
                <a:gd name="connsiteY1" fmla="*/ 0 h 245908"/>
                <a:gd name="connsiteX2" fmla="*/ 225644 w 225644"/>
                <a:gd name="connsiteY2" fmla="*/ 122950 h 245908"/>
                <a:gd name="connsiteX3" fmla="*/ 113748 w 225644"/>
                <a:gd name="connsiteY3" fmla="*/ 245908 h 245908"/>
                <a:gd name="connsiteX4" fmla="*/ 0 w 225644"/>
                <a:gd name="connsiteY4" fmla="*/ 122950 h 245908"/>
                <a:gd name="connsiteX5" fmla="*/ 171308 w 225644"/>
                <a:gd name="connsiteY5" fmla="*/ 123410 h 245908"/>
                <a:gd name="connsiteX6" fmla="*/ 112826 w 225644"/>
                <a:gd name="connsiteY6" fmla="*/ 49731 h 245908"/>
                <a:gd name="connsiteX7" fmla="*/ 54345 w 225644"/>
                <a:gd name="connsiteY7" fmla="*/ 122481 h 245908"/>
                <a:gd name="connsiteX8" fmla="*/ 113287 w 225644"/>
                <a:gd name="connsiteY8" fmla="*/ 196621 h 245908"/>
                <a:gd name="connsiteX9" fmla="*/ 171308 w 225644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44" h="245908">
                  <a:moveTo>
                    <a:pt x="0" y="122950"/>
                  </a:moveTo>
                  <a:cubicBezTo>
                    <a:pt x="0" y="49270"/>
                    <a:pt x="45586" y="0"/>
                    <a:pt x="113748" y="0"/>
                  </a:cubicBezTo>
                  <a:cubicBezTo>
                    <a:pt x="181440" y="0"/>
                    <a:pt x="225644" y="48349"/>
                    <a:pt x="225644" y="122950"/>
                  </a:cubicBezTo>
                  <a:cubicBezTo>
                    <a:pt x="225644" y="196629"/>
                    <a:pt x="181892" y="245908"/>
                    <a:pt x="113748" y="245908"/>
                  </a:cubicBezTo>
                  <a:cubicBezTo>
                    <a:pt x="46055" y="245900"/>
                    <a:pt x="0" y="197090"/>
                    <a:pt x="0" y="122950"/>
                  </a:cubicBezTo>
                  <a:close/>
                  <a:moveTo>
                    <a:pt x="171308" y="123410"/>
                  </a:moveTo>
                  <a:cubicBezTo>
                    <a:pt x="171308" y="77824"/>
                    <a:pt x="148741" y="49731"/>
                    <a:pt x="112826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12" y="196621"/>
                    <a:pt x="113287" y="196621"/>
                  </a:cubicBezTo>
                  <a:cubicBezTo>
                    <a:pt x="149202" y="196629"/>
                    <a:pt x="171308" y="168536"/>
                    <a:pt x="171308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Freihandform: Form 272">
              <a:extLst>
                <a:ext uri="{FF2B5EF4-FFF2-40B4-BE49-F238E27FC236}">
                  <a16:creationId xmlns:a16="http://schemas.microsoft.com/office/drawing/2014/main" id="{5ADBF159-40D1-DB49-8482-2DC07A166EFC}"/>
                </a:ext>
              </a:extLst>
            </p:cNvPr>
            <p:cNvSpPr/>
            <p:nvPr/>
          </p:nvSpPr>
          <p:spPr>
            <a:xfrm>
              <a:off x="4551790" y="3058352"/>
              <a:ext cx="185115" cy="234377"/>
            </a:xfrm>
            <a:custGeom>
              <a:avLst/>
              <a:gdLst>
                <a:gd name="connsiteX0" fmla="*/ 185108 w 185115"/>
                <a:gd name="connsiteY0" fmla="*/ 234378 h 234377"/>
                <a:gd name="connsiteX1" fmla="*/ 0 w 185115"/>
                <a:gd name="connsiteY1" fmla="*/ 234378 h 234377"/>
                <a:gd name="connsiteX2" fmla="*/ 0 w 185115"/>
                <a:gd name="connsiteY2" fmla="*/ 187410 h 234377"/>
                <a:gd name="connsiteX3" fmla="*/ 116963 w 185115"/>
                <a:gd name="connsiteY3" fmla="*/ 46968 h 234377"/>
                <a:gd name="connsiteX4" fmla="*/ 6900 w 185115"/>
                <a:gd name="connsiteY4" fmla="*/ 46968 h 234377"/>
                <a:gd name="connsiteX5" fmla="*/ 6900 w 185115"/>
                <a:gd name="connsiteY5" fmla="*/ 0 h 234377"/>
                <a:gd name="connsiteX6" fmla="*/ 183274 w 185115"/>
                <a:gd name="connsiteY6" fmla="*/ 0 h 234377"/>
                <a:gd name="connsiteX7" fmla="*/ 183274 w 185115"/>
                <a:gd name="connsiteY7" fmla="*/ 46968 h 234377"/>
                <a:gd name="connsiteX8" fmla="*/ 65850 w 185115"/>
                <a:gd name="connsiteY8" fmla="*/ 187410 h 234377"/>
                <a:gd name="connsiteX9" fmla="*/ 185116 w 185115"/>
                <a:gd name="connsiteY9" fmla="*/ 187410 h 234377"/>
                <a:gd name="connsiteX10" fmla="*/ 185116 w 185115"/>
                <a:gd name="connsiteY10" fmla="*/ 234378 h 2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15" h="234377">
                  <a:moveTo>
                    <a:pt x="185108" y="234378"/>
                  </a:moveTo>
                  <a:lnTo>
                    <a:pt x="0" y="234378"/>
                  </a:lnTo>
                  <a:lnTo>
                    <a:pt x="0" y="187410"/>
                  </a:lnTo>
                  <a:lnTo>
                    <a:pt x="116963" y="46968"/>
                  </a:lnTo>
                  <a:lnTo>
                    <a:pt x="6900" y="46968"/>
                  </a:lnTo>
                  <a:lnTo>
                    <a:pt x="6900" y="0"/>
                  </a:lnTo>
                  <a:lnTo>
                    <a:pt x="183274" y="0"/>
                  </a:lnTo>
                  <a:lnTo>
                    <a:pt x="183274" y="46968"/>
                  </a:lnTo>
                  <a:lnTo>
                    <a:pt x="65850" y="187410"/>
                  </a:lnTo>
                  <a:lnTo>
                    <a:pt x="185116" y="187410"/>
                  </a:lnTo>
                  <a:lnTo>
                    <a:pt x="185116" y="23437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273">
              <a:extLst>
                <a:ext uri="{FF2B5EF4-FFF2-40B4-BE49-F238E27FC236}">
                  <a16:creationId xmlns:a16="http://schemas.microsoft.com/office/drawing/2014/main" id="{CCAC49CF-D88F-3D47-8DBC-BAD8458B40EF}"/>
                </a:ext>
              </a:extLst>
            </p:cNvPr>
            <p:cNvSpPr/>
            <p:nvPr/>
          </p:nvSpPr>
          <p:spPr>
            <a:xfrm>
              <a:off x="478624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8 w 69534"/>
                <a:gd name="connsiteY6" fmla="*/ 338462 h 338461"/>
                <a:gd name="connsiteX7" fmla="*/ 7368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84" y="66311"/>
                    <a:pt x="34533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33" y="0"/>
                  </a:cubicBezTo>
                  <a:cubicBezTo>
                    <a:pt x="53884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8" y="338462"/>
                  </a:lnTo>
                  <a:lnTo>
                    <a:pt x="7368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274">
              <a:extLst>
                <a:ext uri="{FF2B5EF4-FFF2-40B4-BE49-F238E27FC236}">
                  <a16:creationId xmlns:a16="http://schemas.microsoft.com/office/drawing/2014/main" id="{9C93582C-155D-D94E-873A-38165218730F}"/>
                </a:ext>
              </a:extLst>
            </p:cNvPr>
            <p:cNvSpPr/>
            <p:nvPr/>
          </p:nvSpPr>
          <p:spPr>
            <a:xfrm>
              <a:off x="4904378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90 w 198923"/>
                <a:gd name="connsiteY9" fmla="*/ 240373 h 245899"/>
                <a:gd name="connsiteX10" fmla="*/ 146890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33 w 198923"/>
                <a:gd name="connsiteY15" fmla="*/ 204919 h 245899"/>
                <a:gd name="connsiteX16" fmla="*/ 145048 w 198923"/>
                <a:gd name="connsiteY16" fmla="*/ 176834 h 245899"/>
                <a:gd name="connsiteX17" fmla="*/ 145048 w 198923"/>
                <a:gd name="connsiteY17" fmla="*/ 135845 h 245899"/>
                <a:gd name="connsiteX18" fmla="*/ 106831 w 198923"/>
                <a:gd name="connsiteY18" fmla="*/ 131240 h 245899"/>
                <a:gd name="connsiteX19" fmla="*/ 52503 w 198923"/>
                <a:gd name="connsiteY19" fmla="*/ 169918 h 245899"/>
                <a:gd name="connsiteX20" fmla="*/ 91633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50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47" y="46047"/>
                    <a:pt x="93466" y="46047"/>
                  </a:cubicBezTo>
                  <a:cubicBezTo>
                    <a:pt x="74592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36" y="5066"/>
                    <a:pt x="72281" y="0"/>
                    <a:pt x="98993" y="0"/>
                  </a:cubicBezTo>
                  <a:cubicBezTo>
                    <a:pt x="164843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90" y="240373"/>
                  </a:lnTo>
                  <a:lnTo>
                    <a:pt x="146890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96" y="245900"/>
                    <a:pt x="0" y="216885"/>
                    <a:pt x="0" y="171299"/>
                  </a:cubicBezTo>
                  <a:cubicBezTo>
                    <a:pt x="-8" y="121568"/>
                    <a:pt x="35454" y="94856"/>
                    <a:pt x="100835" y="94856"/>
                  </a:cubicBezTo>
                  <a:close/>
                  <a:moveTo>
                    <a:pt x="91633" y="204919"/>
                  </a:moveTo>
                  <a:cubicBezTo>
                    <a:pt x="111436" y="204919"/>
                    <a:pt x="129850" y="195248"/>
                    <a:pt x="145048" y="176834"/>
                  </a:cubicBezTo>
                  <a:lnTo>
                    <a:pt x="145048" y="135845"/>
                  </a:lnTo>
                  <a:cubicBezTo>
                    <a:pt x="132161" y="132621"/>
                    <a:pt x="118805" y="131240"/>
                    <a:pt x="106831" y="131240"/>
                  </a:cubicBezTo>
                  <a:cubicBezTo>
                    <a:pt x="72298" y="131240"/>
                    <a:pt x="52503" y="145048"/>
                    <a:pt x="52503" y="169918"/>
                  </a:cubicBezTo>
                  <a:cubicBezTo>
                    <a:pt x="52494" y="191563"/>
                    <a:pt x="67684" y="204919"/>
                    <a:pt x="91633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275">
              <a:extLst>
                <a:ext uri="{FF2B5EF4-FFF2-40B4-BE49-F238E27FC236}">
                  <a16:creationId xmlns:a16="http://schemas.microsoft.com/office/drawing/2014/main" id="{FAA02EE9-C67D-4E4C-B077-F5E67F2A8ED0}"/>
                </a:ext>
              </a:extLst>
            </p:cNvPr>
            <p:cNvSpPr/>
            <p:nvPr/>
          </p:nvSpPr>
          <p:spPr>
            <a:xfrm>
              <a:off x="5173423" y="2950592"/>
              <a:ext cx="54797" cy="342137"/>
            </a:xfrm>
            <a:custGeom>
              <a:avLst/>
              <a:gdLst>
                <a:gd name="connsiteX0" fmla="*/ 54797 w 54797"/>
                <a:gd name="connsiteY0" fmla="*/ 342138 h 342137"/>
                <a:gd name="connsiteX1" fmla="*/ 0 w 54797"/>
                <a:gd name="connsiteY1" fmla="*/ 342138 h 342137"/>
                <a:gd name="connsiteX2" fmla="*/ 0 w 54797"/>
                <a:gd name="connsiteY2" fmla="*/ 12426 h 342137"/>
                <a:gd name="connsiteX3" fmla="*/ 54797 w 54797"/>
                <a:gd name="connsiteY3" fmla="*/ 0 h 342137"/>
                <a:gd name="connsiteX4" fmla="*/ 54797 w 54797"/>
                <a:gd name="connsiteY4" fmla="*/ 342138 h 3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797" h="342137">
                  <a:moveTo>
                    <a:pt x="54797" y="342138"/>
                  </a:moveTo>
                  <a:lnTo>
                    <a:pt x="0" y="342138"/>
                  </a:lnTo>
                  <a:lnTo>
                    <a:pt x="0" y="12426"/>
                  </a:lnTo>
                  <a:lnTo>
                    <a:pt x="54797" y="0"/>
                  </a:lnTo>
                  <a:lnTo>
                    <a:pt x="54797" y="342138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276">
              <a:extLst>
                <a:ext uri="{FF2B5EF4-FFF2-40B4-BE49-F238E27FC236}">
                  <a16:creationId xmlns:a16="http://schemas.microsoft.com/office/drawing/2014/main" id="{FD1548DF-0C71-A84F-98F1-737F64C226AD}"/>
                </a:ext>
              </a:extLst>
            </p:cNvPr>
            <p:cNvSpPr/>
            <p:nvPr/>
          </p:nvSpPr>
          <p:spPr>
            <a:xfrm>
              <a:off x="5275974" y="3058344"/>
              <a:ext cx="330180" cy="234386"/>
            </a:xfrm>
            <a:custGeom>
              <a:avLst/>
              <a:gdLst>
                <a:gd name="connsiteX0" fmla="*/ 330180 w 330180"/>
                <a:gd name="connsiteY0" fmla="*/ 0 h 234386"/>
                <a:gd name="connsiteX1" fmla="*/ 260646 w 330180"/>
                <a:gd name="connsiteY1" fmla="*/ 234386 h 234386"/>
                <a:gd name="connsiteX2" fmla="*/ 208143 w 330180"/>
                <a:gd name="connsiteY2" fmla="*/ 234386 h 234386"/>
                <a:gd name="connsiteX3" fmla="*/ 165320 w 330180"/>
                <a:gd name="connsiteY3" fmla="*/ 72298 h 234386"/>
                <a:gd name="connsiteX4" fmla="*/ 164408 w 330180"/>
                <a:gd name="connsiteY4" fmla="*/ 72298 h 234386"/>
                <a:gd name="connsiteX5" fmla="*/ 122037 w 330180"/>
                <a:gd name="connsiteY5" fmla="*/ 234386 h 234386"/>
                <a:gd name="connsiteX6" fmla="*/ 69535 w 330180"/>
                <a:gd name="connsiteY6" fmla="*/ 234386 h 234386"/>
                <a:gd name="connsiteX7" fmla="*/ 0 w 330180"/>
                <a:gd name="connsiteY7" fmla="*/ 0 h 234386"/>
                <a:gd name="connsiteX8" fmla="*/ 57560 w 330180"/>
                <a:gd name="connsiteY8" fmla="*/ 0 h 234386"/>
                <a:gd name="connsiteX9" fmla="*/ 98089 w 330180"/>
                <a:gd name="connsiteY9" fmla="*/ 157943 h 234386"/>
                <a:gd name="connsiteX10" fmla="*/ 99001 w 330180"/>
                <a:gd name="connsiteY10" fmla="*/ 157943 h 234386"/>
                <a:gd name="connsiteX11" fmla="*/ 140451 w 330180"/>
                <a:gd name="connsiteY11" fmla="*/ 0 h 234386"/>
                <a:gd name="connsiteX12" fmla="*/ 190642 w 330180"/>
                <a:gd name="connsiteY12" fmla="*/ 0 h 234386"/>
                <a:gd name="connsiteX13" fmla="*/ 233465 w 330180"/>
                <a:gd name="connsiteY13" fmla="*/ 157943 h 234386"/>
                <a:gd name="connsiteX14" fmla="*/ 234378 w 330180"/>
                <a:gd name="connsiteY14" fmla="*/ 157943 h 234386"/>
                <a:gd name="connsiteX15" fmla="*/ 273524 w 330180"/>
                <a:gd name="connsiteY15" fmla="*/ 0 h 234386"/>
                <a:gd name="connsiteX16" fmla="*/ 330180 w 330180"/>
                <a:gd name="connsiteY16" fmla="*/ 0 h 234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180" h="234386">
                  <a:moveTo>
                    <a:pt x="330180" y="0"/>
                  </a:moveTo>
                  <a:lnTo>
                    <a:pt x="260646" y="234386"/>
                  </a:lnTo>
                  <a:lnTo>
                    <a:pt x="208143" y="234386"/>
                  </a:lnTo>
                  <a:lnTo>
                    <a:pt x="165320" y="72298"/>
                  </a:lnTo>
                  <a:lnTo>
                    <a:pt x="164408" y="72298"/>
                  </a:lnTo>
                  <a:lnTo>
                    <a:pt x="122037" y="234386"/>
                  </a:lnTo>
                  <a:lnTo>
                    <a:pt x="69535" y="234386"/>
                  </a:lnTo>
                  <a:lnTo>
                    <a:pt x="0" y="0"/>
                  </a:lnTo>
                  <a:lnTo>
                    <a:pt x="57560" y="0"/>
                  </a:lnTo>
                  <a:lnTo>
                    <a:pt x="98089" y="157943"/>
                  </a:lnTo>
                  <a:lnTo>
                    <a:pt x="99001" y="157943"/>
                  </a:lnTo>
                  <a:lnTo>
                    <a:pt x="140451" y="0"/>
                  </a:lnTo>
                  <a:lnTo>
                    <a:pt x="190642" y="0"/>
                  </a:lnTo>
                  <a:lnTo>
                    <a:pt x="233465" y="157943"/>
                  </a:lnTo>
                  <a:lnTo>
                    <a:pt x="234378" y="157943"/>
                  </a:lnTo>
                  <a:lnTo>
                    <a:pt x="273524" y="0"/>
                  </a:lnTo>
                  <a:lnTo>
                    <a:pt x="33018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277">
              <a:extLst>
                <a:ext uri="{FF2B5EF4-FFF2-40B4-BE49-F238E27FC236}">
                  <a16:creationId xmlns:a16="http://schemas.microsoft.com/office/drawing/2014/main" id="{AF286C01-D727-DF44-9099-27523073E534}"/>
                </a:ext>
              </a:extLst>
            </p:cNvPr>
            <p:cNvSpPr/>
            <p:nvPr/>
          </p:nvSpPr>
          <p:spPr>
            <a:xfrm>
              <a:off x="5647320" y="2954268"/>
              <a:ext cx="69542" cy="338461"/>
            </a:xfrm>
            <a:custGeom>
              <a:avLst/>
              <a:gdLst>
                <a:gd name="connsiteX0" fmla="*/ 69543 w 69542"/>
                <a:gd name="connsiteY0" fmla="*/ 33160 h 338461"/>
                <a:gd name="connsiteX1" fmla="*/ 34541 w 69542"/>
                <a:gd name="connsiteY1" fmla="*/ 66311 h 338461"/>
                <a:gd name="connsiteX2" fmla="*/ 0 w 69542"/>
                <a:gd name="connsiteY2" fmla="*/ 33160 h 338461"/>
                <a:gd name="connsiteX3" fmla="*/ 34541 w 69542"/>
                <a:gd name="connsiteY3" fmla="*/ 0 h 338461"/>
                <a:gd name="connsiteX4" fmla="*/ 69543 w 69542"/>
                <a:gd name="connsiteY4" fmla="*/ 33160 h 338461"/>
                <a:gd name="connsiteX5" fmla="*/ 62174 w 69542"/>
                <a:gd name="connsiteY5" fmla="*/ 338462 h 338461"/>
                <a:gd name="connsiteX6" fmla="*/ 7369 w 69542"/>
                <a:gd name="connsiteY6" fmla="*/ 338462 h 338461"/>
                <a:gd name="connsiteX7" fmla="*/ 7369 w 69542"/>
                <a:gd name="connsiteY7" fmla="*/ 104076 h 338461"/>
                <a:gd name="connsiteX8" fmla="*/ 62174 w 69542"/>
                <a:gd name="connsiteY8" fmla="*/ 104076 h 338461"/>
                <a:gd name="connsiteX9" fmla="*/ 62174 w 69542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42" h="338461">
                  <a:moveTo>
                    <a:pt x="69543" y="33160"/>
                  </a:moveTo>
                  <a:cubicBezTo>
                    <a:pt x="69543" y="52503"/>
                    <a:pt x="53884" y="66311"/>
                    <a:pt x="34541" y="66311"/>
                  </a:cubicBezTo>
                  <a:cubicBezTo>
                    <a:pt x="15659" y="66311"/>
                    <a:pt x="0" y="52503"/>
                    <a:pt x="0" y="33160"/>
                  </a:cubicBezTo>
                  <a:cubicBezTo>
                    <a:pt x="0" y="14277"/>
                    <a:pt x="15659" y="0"/>
                    <a:pt x="34541" y="0"/>
                  </a:cubicBezTo>
                  <a:cubicBezTo>
                    <a:pt x="53884" y="0"/>
                    <a:pt x="69543" y="14277"/>
                    <a:pt x="69543" y="33160"/>
                  </a:cubicBezTo>
                  <a:close/>
                  <a:moveTo>
                    <a:pt x="62174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74" y="104076"/>
                  </a:lnTo>
                  <a:lnTo>
                    <a:pt x="62174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9" name="Freihandform: Form 278">
              <a:extLst>
                <a:ext uri="{FF2B5EF4-FFF2-40B4-BE49-F238E27FC236}">
                  <a16:creationId xmlns:a16="http://schemas.microsoft.com/office/drawing/2014/main" id="{A722A2BA-8A52-1147-88C2-9E02D126DF45}"/>
                </a:ext>
              </a:extLst>
            </p:cNvPr>
            <p:cNvSpPr/>
            <p:nvPr/>
          </p:nvSpPr>
          <p:spPr>
            <a:xfrm>
              <a:off x="5759802" y="3052356"/>
              <a:ext cx="180502" cy="245891"/>
            </a:xfrm>
            <a:custGeom>
              <a:avLst/>
              <a:gdLst>
                <a:gd name="connsiteX0" fmla="*/ 26235 w 180502"/>
                <a:gd name="connsiteY0" fmla="*/ 174063 h 245891"/>
                <a:gd name="connsiteX1" fmla="*/ 92545 w 180502"/>
                <a:gd name="connsiteY1" fmla="*/ 200314 h 245891"/>
                <a:gd name="connsiteX2" fmla="*/ 127078 w 180502"/>
                <a:gd name="connsiteY2" fmla="*/ 176826 h 245891"/>
                <a:gd name="connsiteX3" fmla="*/ 9655 w 180502"/>
                <a:gd name="connsiteY3" fmla="*/ 72750 h 245891"/>
                <a:gd name="connsiteX4" fmla="*/ 98072 w 180502"/>
                <a:gd name="connsiteY4" fmla="*/ 0 h 245891"/>
                <a:gd name="connsiteX5" fmla="*/ 179120 w 180502"/>
                <a:gd name="connsiteY5" fmla="*/ 24401 h 245891"/>
                <a:gd name="connsiteX6" fmla="*/ 153338 w 180502"/>
                <a:gd name="connsiteY6" fmla="*/ 67223 h 245891"/>
                <a:gd name="connsiteX7" fmla="*/ 97159 w 180502"/>
                <a:gd name="connsiteY7" fmla="*/ 46499 h 245891"/>
                <a:gd name="connsiteX8" fmla="*/ 63539 w 180502"/>
                <a:gd name="connsiteY8" fmla="*/ 68145 h 245891"/>
                <a:gd name="connsiteX9" fmla="*/ 180502 w 180502"/>
                <a:gd name="connsiteY9" fmla="*/ 171751 h 245891"/>
                <a:gd name="connsiteX10" fmla="*/ 90251 w 180502"/>
                <a:gd name="connsiteY10" fmla="*/ 245891 h 245891"/>
                <a:gd name="connsiteX11" fmla="*/ 0 w 180502"/>
                <a:gd name="connsiteY11" fmla="*/ 217337 h 245891"/>
                <a:gd name="connsiteX12" fmla="*/ 26235 w 180502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02" h="245891">
                  <a:moveTo>
                    <a:pt x="26235" y="174063"/>
                  </a:moveTo>
                  <a:cubicBezTo>
                    <a:pt x="49254" y="191563"/>
                    <a:pt x="71821" y="200314"/>
                    <a:pt x="92545" y="200314"/>
                  </a:cubicBezTo>
                  <a:cubicBezTo>
                    <a:pt x="112801" y="200314"/>
                    <a:pt x="127078" y="191103"/>
                    <a:pt x="127078" y="176826"/>
                  </a:cubicBezTo>
                  <a:cubicBezTo>
                    <a:pt x="127078" y="136766"/>
                    <a:pt x="9655" y="151035"/>
                    <a:pt x="9655" y="72750"/>
                  </a:cubicBezTo>
                  <a:cubicBezTo>
                    <a:pt x="9655" y="29467"/>
                    <a:pt x="45578" y="0"/>
                    <a:pt x="98072" y="0"/>
                  </a:cubicBezTo>
                  <a:cubicBezTo>
                    <a:pt x="126166" y="0"/>
                    <a:pt x="154259" y="8282"/>
                    <a:pt x="179120" y="24401"/>
                  </a:cubicBezTo>
                  <a:lnTo>
                    <a:pt x="153338" y="67223"/>
                  </a:lnTo>
                  <a:cubicBezTo>
                    <a:pt x="133074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02" y="93014"/>
                    <a:pt x="180502" y="171751"/>
                  </a:cubicBezTo>
                  <a:cubicBezTo>
                    <a:pt x="180502" y="215956"/>
                    <a:pt x="144127" y="245891"/>
                    <a:pt x="90251" y="245891"/>
                  </a:cubicBezTo>
                  <a:cubicBezTo>
                    <a:pt x="58942" y="245891"/>
                    <a:pt x="27164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0" name="Freihandform: Form 279">
              <a:extLst>
                <a:ext uri="{FF2B5EF4-FFF2-40B4-BE49-F238E27FC236}">
                  <a16:creationId xmlns:a16="http://schemas.microsoft.com/office/drawing/2014/main" id="{B4737A5E-CBC1-BA41-AA58-0C30675AFB15}"/>
                </a:ext>
              </a:extLst>
            </p:cNvPr>
            <p:cNvSpPr/>
            <p:nvPr/>
          </p:nvSpPr>
          <p:spPr>
            <a:xfrm>
              <a:off x="597652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87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9 w 180510"/>
                <a:gd name="connsiteY5" fmla="*/ 24401 h 245891"/>
                <a:gd name="connsiteX6" fmla="*/ 153338 w 180510"/>
                <a:gd name="connsiteY6" fmla="*/ 67223 h 245891"/>
                <a:gd name="connsiteX7" fmla="*/ 97159 w 180510"/>
                <a:gd name="connsiteY7" fmla="*/ 46499 h 245891"/>
                <a:gd name="connsiteX8" fmla="*/ 63547 w 180510"/>
                <a:gd name="connsiteY8" fmla="*/ 68145 h 245891"/>
                <a:gd name="connsiteX9" fmla="*/ 180510 w 180510"/>
                <a:gd name="connsiteY9" fmla="*/ 171751 h 245891"/>
                <a:gd name="connsiteX10" fmla="*/ 90259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1" y="200314"/>
                    <a:pt x="92545" y="200314"/>
                  </a:cubicBezTo>
                  <a:cubicBezTo>
                    <a:pt x="112809" y="200314"/>
                    <a:pt x="127087" y="191103"/>
                    <a:pt x="127087" y="176826"/>
                  </a:cubicBezTo>
                  <a:cubicBezTo>
                    <a:pt x="127087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6" y="0"/>
                    <a:pt x="154259" y="8282"/>
                    <a:pt x="179129" y="24401"/>
                  </a:cubicBezTo>
                  <a:lnTo>
                    <a:pt x="153338" y="67223"/>
                  </a:lnTo>
                  <a:cubicBezTo>
                    <a:pt x="133082" y="53415"/>
                    <a:pt x="115129" y="46499"/>
                    <a:pt x="97159" y="46499"/>
                  </a:cubicBezTo>
                  <a:cubicBezTo>
                    <a:pt x="76904" y="46499"/>
                    <a:pt x="63547" y="55249"/>
                    <a:pt x="63547" y="68145"/>
                  </a:cubicBezTo>
                  <a:cubicBezTo>
                    <a:pt x="63547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9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280">
              <a:extLst>
                <a:ext uri="{FF2B5EF4-FFF2-40B4-BE49-F238E27FC236}">
                  <a16:creationId xmlns:a16="http://schemas.microsoft.com/office/drawing/2014/main" id="{EAD69F8B-7CD7-E549-947F-D5E7DCF7E46A}"/>
                </a:ext>
              </a:extLst>
            </p:cNvPr>
            <p:cNvSpPr/>
            <p:nvPr/>
          </p:nvSpPr>
          <p:spPr>
            <a:xfrm>
              <a:off x="6201863" y="3052356"/>
              <a:ext cx="214130" cy="245899"/>
            </a:xfrm>
            <a:custGeom>
              <a:avLst/>
              <a:gdLst>
                <a:gd name="connsiteX0" fmla="*/ 116034 w 214130"/>
                <a:gd name="connsiteY0" fmla="*/ 245900 h 245899"/>
                <a:gd name="connsiteX1" fmla="*/ 0 w 214130"/>
                <a:gd name="connsiteY1" fmla="*/ 122489 h 245899"/>
                <a:gd name="connsiteX2" fmla="*/ 110055 w 214130"/>
                <a:gd name="connsiteY2" fmla="*/ 0 h 245899"/>
                <a:gd name="connsiteX3" fmla="*/ 214131 w 214130"/>
                <a:gd name="connsiteY3" fmla="*/ 119266 h 245899"/>
                <a:gd name="connsiteX4" fmla="*/ 213210 w 214130"/>
                <a:gd name="connsiteY4" fmla="*/ 141824 h 245899"/>
                <a:gd name="connsiteX5" fmla="*/ 55719 w 214130"/>
                <a:gd name="connsiteY5" fmla="*/ 141824 h 245899"/>
                <a:gd name="connsiteX6" fmla="*/ 116511 w 214130"/>
                <a:gd name="connsiteY6" fmla="*/ 198924 h 245899"/>
                <a:gd name="connsiteX7" fmla="*/ 174071 w 214130"/>
                <a:gd name="connsiteY7" fmla="*/ 171291 h 245899"/>
                <a:gd name="connsiteX8" fmla="*/ 208144 w 214130"/>
                <a:gd name="connsiteY8" fmla="*/ 207214 h 245899"/>
                <a:gd name="connsiteX9" fmla="*/ 116034 w 214130"/>
                <a:gd name="connsiteY9" fmla="*/ 245900 h 245899"/>
                <a:gd name="connsiteX10" fmla="*/ 54797 w 214130"/>
                <a:gd name="connsiteY10" fmla="*/ 101765 h 245899"/>
                <a:gd name="connsiteX11" fmla="*/ 161167 w 214130"/>
                <a:gd name="connsiteY11" fmla="*/ 101765 h 245899"/>
                <a:gd name="connsiteX12" fmla="*/ 109134 w 214130"/>
                <a:gd name="connsiteY12" fmla="*/ 45125 h 245899"/>
                <a:gd name="connsiteX13" fmla="*/ 54797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4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5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10" y="141824"/>
                  </a:cubicBezTo>
                  <a:lnTo>
                    <a:pt x="55719" y="141824"/>
                  </a:lnTo>
                  <a:cubicBezTo>
                    <a:pt x="61714" y="178207"/>
                    <a:pt x="83351" y="198924"/>
                    <a:pt x="116511" y="198924"/>
                  </a:cubicBezTo>
                  <a:cubicBezTo>
                    <a:pt x="138148" y="198924"/>
                    <a:pt x="155649" y="190634"/>
                    <a:pt x="174071" y="171291"/>
                  </a:cubicBezTo>
                  <a:lnTo>
                    <a:pt x="208144" y="207214"/>
                  </a:lnTo>
                  <a:cubicBezTo>
                    <a:pt x="181432" y="233465"/>
                    <a:pt x="151496" y="245900"/>
                    <a:pt x="116034" y="245900"/>
                  </a:cubicBezTo>
                  <a:close/>
                  <a:moveTo>
                    <a:pt x="54797" y="101765"/>
                  </a:moveTo>
                  <a:lnTo>
                    <a:pt x="161167" y="101765"/>
                  </a:lnTo>
                  <a:cubicBezTo>
                    <a:pt x="158865" y="65850"/>
                    <a:pt x="139990" y="45125"/>
                    <a:pt x="109134" y="45125"/>
                  </a:cubicBezTo>
                  <a:cubicBezTo>
                    <a:pt x="78737" y="45134"/>
                    <a:pt x="59394" y="65390"/>
                    <a:pt x="54797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281">
              <a:extLst>
                <a:ext uri="{FF2B5EF4-FFF2-40B4-BE49-F238E27FC236}">
                  <a16:creationId xmlns:a16="http://schemas.microsoft.com/office/drawing/2014/main" id="{46083ACE-AA11-514A-B2EE-11D06495A276}"/>
                </a:ext>
              </a:extLst>
            </p:cNvPr>
            <p:cNvSpPr/>
            <p:nvPr/>
          </p:nvSpPr>
          <p:spPr>
            <a:xfrm>
              <a:off x="6475831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7 w 201695"/>
                <a:gd name="connsiteY4" fmla="*/ 105910 h 240373"/>
                <a:gd name="connsiteX5" fmla="*/ 54797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3 w 201695"/>
                <a:gd name="connsiteY11" fmla="*/ 0 h 240373"/>
                <a:gd name="connsiteX12" fmla="*/ 201687 w 201695"/>
                <a:gd name="connsiteY12" fmla="*/ 94856 h 240373"/>
                <a:gd name="connsiteX13" fmla="*/ 201687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7" y="80579"/>
                    <a:pt x="54797" y="105910"/>
                  </a:cubicBezTo>
                  <a:lnTo>
                    <a:pt x="54797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3" y="0"/>
                  </a:cubicBezTo>
                  <a:cubicBezTo>
                    <a:pt x="177739" y="0"/>
                    <a:pt x="201687" y="39138"/>
                    <a:pt x="201687" y="94856"/>
                  </a:cubicBezTo>
                  <a:lnTo>
                    <a:pt x="201687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82">
              <a:extLst>
                <a:ext uri="{FF2B5EF4-FFF2-40B4-BE49-F238E27FC236}">
                  <a16:creationId xmlns:a16="http://schemas.microsoft.com/office/drawing/2014/main" id="{14D7F9C9-0615-8C45-8036-3EB7502F6D47}"/>
                </a:ext>
              </a:extLst>
            </p:cNvPr>
            <p:cNvSpPr/>
            <p:nvPr/>
          </p:nvSpPr>
          <p:spPr>
            <a:xfrm>
              <a:off x="6726069" y="3052356"/>
              <a:ext cx="180510" cy="245891"/>
            </a:xfrm>
            <a:custGeom>
              <a:avLst/>
              <a:gdLst>
                <a:gd name="connsiteX0" fmla="*/ 26235 w 180510"/>
                <a:gd name="connsiteY0" fmla="*/ 174063 h 245891"/>
                <a:gd name="connsiteX1" fmla="*/ 92545 w 180510"/>
                <a:gd name="connsiteY1" fmla="*/ 200314 h 245891"/>
                <a:gd name="connsiteX2" fmla="*/ 127078 w 180510"/>
                <a:gd name="connsiteY2" fmla="*/ 176826 h 245891"/>
                <a:gd name="connsiteX3" fmla="*/ 9663 w 180510"/>
                <a:gd name="connsiteY3" fmla="*/ 72750 h 245891"/>
                <a:gd name="connsiteX4" fmla="*/ 98080 w 180510"/>
                <a:gd name="connsiteY4" fmla="*/ 0 h 245891"/>
                <a:gd name="connsiteX5" fmla="*/ 179128 w 180510"/>
                <a:gd name="connsiteY5" fmla="*/ 24401 h 245891"/>
                <a:gd name="connsiteX6" fmla="*/ 153337 w 180510"/>
                <a:gd name="connsiteY6" fmla="*/ 67223 h 245891"/>
                <a:gd name="connsiteX7" fmla="*/ 97159 w 180510"/>
                <a:gd name="connsiteY7" fmla="*/ 46499 h 245891"/>
                <a:gd name="connsiteX8" fmla="*/ 63539 w 180510"/>
                <a:gd name="connsiteY8" fmla="*/ 68145 h 245891"/>
                <a:gd name="connsiteX9" fmla="*/ 180510 w 180510"/>
                <a:gd name="connsiteY9" fmla="*/ 171751 h 245891"/>
                <a:gd name="connsiteX10" fmla="*/ 90251 w 180510"/>
                <a:gd name="connsiteY10" fmla="*/ 245891 h 245891"/>
                <a:gd name="connsiteX11" fmla="*/ 0 w 180510"/>
                <a:gd name="connsiteY11" fmla="*/ 217337 h 245891"/>
                <a:gd name="connsiteX12" fmla="*/ 26235 w 180510"/>
                <a:gd name="connsiteY12" fmla="*/ 174063 h 24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510" h="245891">
                  <a:moveTo>
                    <a:pt x="26235" y="174063"/>
                  </a:moveTo>
                  <a:cubicBezTo>
                    <a:pt x="49262" y="191563"/>
                    <a:pt x="71820" y="200314"/>
                    <a:pt x="92545" y="200314"/>
                  </a:cubicBezTo>
                  <a:cubicBezTo>
                    <a:pt x="112809" y="200314"/>
                    <a:pt x="127078" y="191103"/>
                    <a:pt x="127078" y="176826"/>
                  </a:cubicBezTo>
                  <a:cubicBezTo>
                    <a:pt x="127078" y="136766"/>
                    <a:pt x="9663" y="151035"/>
                    <a:pt x="9663" y="72750"/>
                  </a:cubicBezTo>
                  <a:cubicBezTo>
                    <a:pt x="9663" y="29467"/>
                    <a:pt x="45578" y="0"/>
                    <a:pt x="98080" y="0"/>
                  </a:cubicBezTo>
                  <a:cubicBezTo>
                    <a:pt x="126165" y="0"/>
                    <a:pt x="154259" y="8282"/>
                    <a:pt x="179128" y="24401"/>
                  </a:cubicBezTo>
                  <a:lnTo>
                    <a:pt x="153337" y="67223"/>
                  </a:lnTo>
                  <a:cubicBezTo>
                    <a:pt x="133073" y="53415"/>
                    <a:pt x="115121" y="46499"/>
                    <a:pt x="97159" y="46499"/>
                  </a:cubicBezTo>
                  <a:cubicBezTo>
                    <a:pt x="76895" y="46499"/>
                    <a:pt x="63539" y="55249"/>
                    <a:pt x="63539" y="68145"/>
                  </a:cubicBezTo>
                  <a:cubicBezTo>
                    <a:pt x="63539" y="106362"/>
                    <a:pt x="180510" y="93014"/>
                    <a:pt x="180510" y="171751"/>
                  </a:cubicBezTo>
                  <a:cubicBezTo>
                    <a:pt x="180510" y="215956"/>
                    <a:pt x="144127" y="245891"/>
                    <a:pt x="90251" y="245891"/>
                  </a:cubicBezTo>
                  <a:cubicBezTo>
                    <a:pt x="58942" y="245891"/>
                    <a:pt x="27172" y="236220"/>
                    <a:pt x="0" y="217337"/>
                  </a:cubicBezTo>
                  <a:lnTo>
                    <a:pt x="26235" y="174063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83">
              <a:extLst>
                <a:ext uri="{FF2B5EF4-FFF2-40B4-BE49-F238E27FC236}">
                  <a16:creationId xmlns:a16="http://schemas.microsoft.com/office/drawing/2014/main" id="{70C87191-295C-7E40-BD93-115D51649AC9}"/>
                </a:ext>
              </a:extLst>
            </p:cNvPr>
            <p:cNvSpPr/>
            <p:nvPr/>
          </p:nvSpPr>
          <p:spPr>
            <a:xfrm>
              <a:off x="6951395" y="3052365"/>
              <a:ext cx="197542" cy="245899"/>
            </a:xfrm>
            <a:custGeom>
              <a:avLst/>
              <a:gdLst>
                <a:gd name="connsiteX0" fmla="*/ 196169 w 197542"/>
                <a:gd name="connsiteY0" fmla="*/ 208135 h 245899"/>
                <a:gd name="connsiteX1" fmla="*/ 112357 w 197542"/>
                <a:gd name="connsiteY1" fmla="*/ 245900 h 245899"/>
                <a:gd name="connsiteX2" fmla="*/ 0 w 197542"/>
                <a:gd name="connsiteY2" fmla="*/ 123871 h 245899"/>
                <a:gd name="connsiteX3" fmla="*/ 113278 w 197542"/>
                <a:gd name="connsiteY3" fmla="*/ 0 h 245899"/>
                <a:gd name="connsiteX4" fmla="*/ 197542 w 197542"/>
                <a:gd name="connsiteY4" fmla="*/ 40060 h 245899"/>
                <a:gd name="connsiteX5" fmla="*/ 159777 w 197542"/>
                <a:gd name="connsiteY5" fmla="*/ 75974 h 245899"/>
                <a:gd name="connsiteX6" fmla="*/ 112809 w 197542"/>
                <a:gd name="connsiteY6" fmla="*/ 50192 h 245899"/>
                <a:gd name="connsiteX7" fmla="*/ 54788 w 197542"/>
                <a:gd name="connsiteY7" fmla="*/ 122942 h 245899"/>
                <a:gd name="connsiteX8" fmla="*/ 112349 w 197542"/>
                <a:gd name="connsiteY8" fmla="*/ 196161 h 245899"/>
                <a:gd name="connsiteX9" fmla="*/ 160698 w 197542"/>
                <a:gd name="connsiteY9" fmla="*/ 170370 h 245899"/>
                <a:gd name="connsiteX10" fmla="*/ 196169 w 197542"/>
                <a:gd name="connsiteY10" fmla="*/ 20813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542" h="245899">
                  <a:moveTo>
                    <a:pt x="196169" y="208135"/>
                  </a:moveTo>
                  <a:cubicBezTo>
                    <a:pt x="172681" y="233926"/>
                    <a:pt x="145977" y="245900"/>
                    <a:pt x="112357" y="245900"/>
                  </a:cubicBezTo>
                  <a:cubicBezTo>
                    <a:pt x="45125" y="245900"/>
                    <a:pt x="0" y="197551"/>
                    <a:pt x="0" y="123871"/>
                  </a:cubicBezTo>
                  <a:cubicBezTo>
                    <a:pt x="0" y="50192"/>
                    <a:pt x="45586" y="0"/>
                    <a:pt x="113278" y="0"/>
                  </a:cubicBezTo>
                  <a:cubicBezTo>
                    <a:pt x="148272" y="0"/>
                    <a:pt x="177286" y="13808"/>
                    <a:pt x="197542" y="40060"/>
                  </a:cubicBezTo>
                  <a:lnTo>
                    <a:pt x="159777" y="75974"/>
                  </a:lnTo>
                  <a:cubicBezTo>
                    <a:pt x="145969" y="58013"/>
                    <a:pt x="131231" y="50192"/>
                    <a:pt x="112809" y="50192"/>
                  </a:cubicBezTo>
                  <a:cubicBezTo>
                    <a:pt x="78276" y="50192"/>
                    <a:pt x="54788" y="78737"/>
                    <a:pt x="54788" y="122942"/>
                  </a:cubicBezTo>
                  <a:cubicBezTo>
                    <a:pt x="54788" y="166694"/>
                    <a:pt x="78276" y="196161"/>
                    <a:pt x="112349" y="196161"/>
                  </a:cubicBezTo>
                  <a:cubicBezTo>
                    <a:pt x="130762" y="196161"/>
                    <a:pt x="145500" y="187871"/>
                    <a:pt x="160698" y="170370"/>
                  </a:cubicBezTo>
                  <a:lnTo>
                    <a:pt x="196169" y="20813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8" name="Freihandform: Form 284">
              <a:extLst>
                <a:ext uri="{FF2B5EF4-FFF2-40B4-BE49-F238E27FC236}">
                  <a16:creationId xmlns:a16="http://schemas.microsoft.com/office/drawing/2014/main" id="{0950DE9E-800B-5246-BA6F-C4E8BF8AB060}"/>
                </a:ext>
              </a:extLst>
            </p:cNvPr>
            <p:cNvSpPr/>
            <p:nvPr/>
          </p:nvSpPr>
          <p:spPr>
            <a:xfrm>
              <a:off x="7195938" y="2950140"/>
              <a:ext cx="201695" cy="342598"/>
            </a:xfrm>
            <a:custGeom>
              <a:avLst/>
              <a:gdLst>
                <a:gd name="connsiteX0" fmla="*/ 201695 w 201695"/>
                <a:gd name="connsiteY0" fmla="*/ 342590 h 342598"/>
                <a:gd name="connsiteX1" fmla="*/ 146899 w 201695"/>
                <a:gd name="connsiteY1" fmla="*/ 342590 h 342598"/>
                <a:gd name="connsiteX2" fmla="*/ 146899 w 201695"/>
                <a:gd name="connsiteY2" fmla="*/ 208587 h 342598"/>
                <a:gd name="connsiteX3" fmla="*/ 103607 w 201695"/>
                <a:gd name="connsiteY3" fmla="*/ 151487 h 342598"/>
                <a:gd name="connsiteX4" fmla="*/ 54797 w 201695"/>
                <a:gd name="connsiteY4" fmla="*/ 208135 h 342598"/>
                <a:gd name="connsiteX5" fmla="*/ 54797 w 201695"/>
                <a:gd name="connsiteY5" fmla="*/ 342599 h 342598"/>
                <a:gd name="connsiteX6" fmla="*/ 0 w 201695"/>
                <a:gd name="connsiteY6" fmla="*/ 342599 h 342598"/>
                <a:gd name="connsiteX7" fmla="*/ 0 w 201695"/>
                <a:gd name="connsiteY7" fmla="*/ 13808 h 342598"/>
                <a:gd name="connsiteX8" fmla="*/ 54797 w 201695"/>
                <a:gd name="connsiteY8" fmla="*/ 0 h 342598"/>
                <a:gd name="connsiteX9" fmla="*/ 54797 w 201695"/>
                <a:gd name="connsiteY9" fmla="*/ 136297 h 342598"/>
                <a:gd name="connsiteX10" fmla="*/ 55718 w 201695"/>
                <a:gd name="connsiteY10" fmla="*/ 136297 h 342598"/>
                <a:gd name="connsiteX11" fmla="*/ 124323 w 201695"/>
                <a:gd name="connsiteY11" fmla="*/ 102225 h 342598"/>
                <a:gd name="connsiteX12" fmla="*/ 201687 w 201695"/>
                <a:gd name="connsiteY12" fmla="*/ 197082 h 342598"/>
                <a:gd name="connsiteX13" fmla="*/ 201687 w 201695"/>
                <a:gd name="connsiteY13" fmla="*/ 342590 h 34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342598">
                  <a:moveTo>
                    <a:pt x="201695" y="342590"/>
                  </a:moveTo>
                  <a:lnTo>
                    <a:pt x="146899" y="342590"/>
                  </a:lnTo>
                  <a:lnTo>
                    <a:pt x="146899" y="208587"/>
                  </a:lnTo>
                  <a:cubicBezTo>
                    <a:pt x="146899" y="174054"/>
                    <a:pt x="136306" y="151487"/>
                    <a:pt x="103607" y="151487"/>
                  </a:cubicBezTo>
                  <a:cubicBezTo>
                    <a:pt x="65850" y="151487"/>
                    <a:pt x="54797" y="181423"/>
                    <a:pt x="54797" y="208135"/>
                  </a:cubicBezTo>
                  <a:lnTo>
                    <a:pt x="54797" y="342599"/>
                  </a:lnTo>
                  <a:lnTo>
                    <a:pt x="0" y="342599"/>
                  </a:lnTo>
                  <a:lnTo>
                    <a:pt x="0" y="13808"/>
                  </a:lnTo>
                  <a:lnTo>
                    <a:pt x="54797" y="0"/>
                  </a:lnTo>
                  <a:lnTo>
                    <a:pt x="54797" y="136297"/>
                  </a:lnTo>
                  <a:lnTo>
                    <a:pt x="55718" y="136297"/>
                  </a:lnTo>
                  <a:cubicBezTo>
                    <a:pt x="69074" y="115573"/>
                    <a:pt x="93483" y="102225"/>
                    <a:pt x="124323" y="102225"/>
                  </a:cubicBezTo>
                  <a:cubicBezTo>
                    <a:pt x="178660" y="102225"/>
                    <a:pt x="201687" y="142745"/>
                    <a:pt x="201687" y="197082"/>
                  </a:cubicBezTo>
                  <a:lnTo>
                    <a:pt x="201687" y="34259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9" name="Freihandform: Form 285">
              <a:extLst>
                <a:ext uri="{FF2B5EF4-FFF2-40B4-BE49-F238E27FC236}">
                  <a16:creationId xmlns:a16="http://schemas.microsoft.com/office/drawing/2014/main" id="{FB6700C5-621E-C04A-A4B7-AF67ADE642FF}"/>
                </a:ext>
              </a:extLst>
            </p:cNvPr>
            <p:cNvSpPr/>
            <p:nvPr/>
          </p:nvSpPr>
          <p:spPr>
            <a:xfrm>
              <a:off x="7451652" y="3052356"/>
              <a:ext cx="198923" cy="245899"/>
            </a:xfrm>
            <a:custGeom>
              <a:avLst/>
              <a:gdLst>
                <a:gd name="connsiteX0" fmla="*/ 100835 w 198923"/>
                <a:gd name="connsiteY0" fmla="*/ 94856 h 245899"/>
                <a:gd name="connsiteX1" fmla="*/ 145039 w 198923"/>
                <a:gd name="connsiteY1" fmla="*/ 99922 h 245899"/>
                <a:gd name="connsiteX2" fmla="*/ 145039 w 198923"/>
                <a:gd name="connsiteY2" fmla="*/ 91633 h 245899"/>
                <a:gd name="connsiteX3" fmla="*/ 93466 w 198923"/>
                <a:gd name="connsiteY3" fmla="*/ 46047 h 245899"/>
                <a:gd name="connsiteX4" fmla="*/ 34064 w 198923"/>
                <a:gd name="connsiteY4" fmla="*/ 59402 h 245899"/>
                <a:gd name="connsiteX5" fmla="*/ 22090 w 198923"/>
                <a:gd name="connsiteY5" fmla="*/ 13356 h 245899"/>
                <a:gd name="connsiteX6" fmla="*/ 98993 w 198923"/>
                <a:gd name="connsiteY6" fmla="*/ 0 h 245899"/>
                <a:gd name="connsiteX7" fmla="*/ 198924 w 198923"/>
                <a:gd name="connsiteY7" fmla="*/ 90711 h 245899"/>
                <a:gd name="connsiteX8" fmla="*/ 198924 w 198923"/>
                <a:gd name="connsiteY8" fmla="*/ 240373 h 245899"/>
                <a:gd name="connsiteX9" fmla="*/ 146882 w 198923"/>
                <a:gd name="connsiteY9" fmla="*/ 240373 h 245899"/>
                <a:gd name="connsiteX10" fmla="*/ 146882 w 198923"/>
                <a:gd name="connsiteY10" fmla="*/ 215504 h 245899"/>
                <a:gd name="connsiteX11" fmla="*/ 145969 w 198923"/>
                <a:gd name="connsiteY11" fmla="*/ 215504 h 245899"/>
                <a:gd name="connsiteX12" fmla="*/ 77355 w 198923"/>
                <a:gd name="connsiteY12" fmla="*/ 245900 h 245899"/>
                <a:gd name="connsiteX13" fmla="*/ 0 w 198923"/>
                <a:gd name="connsiteY13" fmla="*/ 171299 h 245899"/>
                <a:gd name="connsiteX14" fmla="*/ 100835 w 198923"/>
                <a:gd name="connsiteY14" fmla="*/ 94856 h 245899"/>
                <a:gd name="connsiteX15" fmla="*/ 91624 w 198923"/>
                <a:gd name="connsiteY15" fmla="*/ 204919 h 245899"/>
                <a:gd name="connsiteX16" fmla="*/ 145039 w 198923"/>
                <a:gd name="connsiteY16" fmla="*/ 176834 h 245899"/>
                <a:gd name="connsiteX17" fmla="*/ 145039 w 198923"/>
                <a:gd name="connsiteY17" fmla="*/ 135845 h 245899"/>
                <a:gd name="connsiteX18" fmla="*/ 106822 w 198923"/>
                <a:gd name="connsiteY18" fmla="*/ 131240 h 245899"/>
                <a:gd name="connsiteX19" fmla="*/ 52486 w 198923"/>
                <a:gd name="connsiteY19" fmla="*/ 169918 h 245899"/>
                <a:gd name="connsiteX20" fmla="*/ 91624 w 198923"/>
                <a:gd name="connsiteY20" fmla="*/ 204919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923" h="245899">
                  <a:moveTo>
                    <a:pt x="100835" y="94856"/>
                  </a:moveTo>
                  <a:cubicBezTo>
                    <a:pt x="116033" y="94856"/>
                    <a:pt x="129849" y="95778"/>
                    <a:pt x="145039" y="99922"/>
                  </a:cubicBezTo>
                  <a:lnTo>
                    <a:pt x="145039" y="91633"/>
                  </a:lnTo>
                  <a:cubicBezTo>
                    <a:pt x="145039" y="61705"/>
                    <a:pt x="127538" y="46047"/>
                    <a:pt x="93466" y="46047"/>
                  </a:cubicBezTo>
                  <a:cubicBezTo>
                    <a:pt x="74584" y="46047"/>
                    <a:pt x="53407" y="50652"/>
                    <a:pt x="34064" y="59402"/>
                  </a:cubicBezTo>
                  <a:lnTo>
                    <a:pt x="22090" y="13356"/>
                  </a:lnTo>
                  <a:cubicBezTo>
                    <a:pt x="43727" y="5066"/>
                    <a:pt x="72281" y="0"/>
                    <a:pt x="98993" y="0"/>
                  </a:cubicBezTo>
                  <a:cubicBezTo>
                    <a:pt x="164844" y="0"/>
                    <a:pt x="198924" y="30857"/>
                    <a:pt x="198924" y="90711"/>
                  </a:cubicBezTo>
                  <a:lnTo>
                    <a:pt x="198924" y="240373"/>
                  </a:lnTo>
                  <a:lnTo>
                    <a:pt x="146882" y="240373"/>
                  </a:lnTo>
                  <a:lnTo>
                    <a:pt x="146882" y="215504"/>
                  </a:lnTo>
                  <a:lnTo>
                    <a:pt x="145969" y="215504"/>
                  </a:lnTo>
                  <a:cubicBezTo>
                    <a:pt x="125705" y="236228"/>
                    <a:pt x="104528" y="245900"/>
                    <a:pt x="77355" y="245900"/>
                  </a:cubicBezTo>
                  <a:cubicBezTo>
                    <a:pt x="30388" y="245900"/>
                    <a:pt x="0" y="216885"/>
                    <a:pt x="0" y="171299"/>
                  </a:cubicBezTo>
                  <a:cubicBezTo>
                    <a:pt x="-9" y="121568"/>
                    <a:pt x="35445" y="94856"/>
                    <a:pt x="100835" y="94856"/>
                  </a:cubicBezTo>
                  <a:close/>
                  <a:moveTo>
                    <a:pt x="91624" y="204919"/>
                  </a:moveTo>
                  <a:cubicBezTo>
                    <a:pt x="111419" y="204919"/>
                    <a:pt x="129841" y="195248"/>
                    <a:pt x="145039" y="176834"/>
                  </a:cubicBezTo>
                  <a:lnTo>
                    <a:pt x="145039" y="135845"/>
                  </a:lnTo>
                  <a:cubicBezTo>
                    <a:pt x="132144" y="132621"/>
                    <a:pt x="118788" y="131240"/>
                    <a:pt x="106822" y="131240"/>
                  </a:cubicBezTo>
                  <a:cubicBezTo>
                    <a:pt x="72289" y="131240"/>
                    <a:pt x="52486" y="145048"/>
                    <a:pt x="52486" y="169918"/>
                  </a:cubicBezTo>
                  <a:cubicBezTo>
                    <a:pt x="52477" y="191563"/>
                    <a:pt x="67684" y="204919"/>
                    <a:pt x="91624" y="204919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0" name="Freihandform: Form 286">
              <a:extLst>
                <a:ext uri="{FF2B5EF4-FFF2-40B4-BE49-F238E27FC236}">
                  <a16:creationId xmlns:a16="http://schemas.microsoft.com/office/drawing/2014/main" id="{57CB02E1-5F4F-6148-9B81-71E42116E79F}"/>
                </a:ext>
              </a:extLst>
            </p:cNvPr>
            <p:cNvSpPr/>
            <p:nvPr/>
          </p:nvSpPr>
          <p:spPr>
            <a:xfrm>
              <a:off x="7694437" y="2946899"/>
              <a:ext cx="143674" cy="345830"/>
            </a:xfrm>
            <a:custGeom>
              <a:avLst/>
              <a:gdLst>
                <a:gd name="connsiteX0" fmla="*/ 143674 w 143674"/>
                <a:gd name="connsiteY0" fmla="*/ 51582 h 345830"/>
                <a:gd name="connsiteX1" fmla="*/ 119734 w 143674"/>
                <a:gd name="connsiteY1" fmla="*/ 46976 h 345830"/>
                <a:gd name="connsiteX2" fmla="*/ 90720 w 143674"/>
                <a:gd name="connsiteY2" fmla="*/ 79667 h 345830"/>
                <a:gd name="connsiteX3" fmla="*/ 90720 w 143674"/>
                <a:gd name="connsiteY3" fmla="*/ 111445 h 345830"/>
                <a:gd name="connsiteX4" fmla="*/ 137235 w 143674"/>
                <a:gd name="connsiteY4" fmla="*/ 111445 h 345830"/>
                <a:gd name="connsiteX5" fmla="*/ 137235 w 143674"/>
                <a:gd name="connsiteY5" fmla="*/ 157031 h 345830"/>
                <a:gd name="connsiteX6" fmla="*/ 91180 w 143674"/>
                <a:gd name="connsiteY6" fmla="*/ 157031 h 345830"/>
                <a:gd name="connsiteX7" fmla="*/ 91180 w 143674"/>
                <a:gd name="connsiteY7" fmla="*/ 345831 h 345830"/>
                <a:gd name="connsiteX8" fmla="*/ 36383 w 143674"/>
                <a:gd name="connsiteY8" fmla="*/ 345831 h 345830"/>
                <a:gd name="connsiteX9" fmla="*/ 36383 w 143674"/>
                <a:gd name="connsiteY9" fmla="*/ 157031 h 345830"/>
                <a:gd name="connsiteX10" fmla="*/ 0 w 143674"/>
                <a:gd name="connsiteY10" fmla="*/ 157031 h 345830"/>
                <a:gd name="connsiteX11" fmla="*/ 0 w 143674"/>
                <a:gd name="connsiteY11" fmla="*/ 111445 h 345830"/>
                <a:gd name="connsiteX12" fmla="*/ 36383 w 143674"/>
                <a:gd name="connsiteY12" fmla="*/ 111445 h 345830"/>
                <a:gd name="connsiteX13" fmla="*/ 36383 w 143674"/>
                <a:gd name="connsiteY13" fmla="*/ 77825 h 345830"/>
                <a:gd name="connsiteX14" fmla="*/ 110983 w 143674"/>
                <a:gd name="connsiteY14" fmla="*/ 0 h 345830"/>
                <a:gd name="connsiteX15" fmla="*/ 143674 w 143674"/>
                <a:gd name="connsiteY15" fmla="*/ 5066 h 345830"/>
                <a:gd name="connsiteX16" fmla="*/ 143674 w 143674"/>
                <a:gd name="connsiteY16" fmla="*/ 51582 h 34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3674" h="345830">
                  <a:moveTo>
                    <a:pt x="143674" y="51582"/>
                  </a:moveTo>
                  <a:cubicBezTo>
                    <a:pt x="136306" y="48358"/>
                    <a:pt x="127555" y="46976"/>
                    <a:pt x="119734" y="46976"/>
                  </a:cubicBezTo>
                  <a:cubicBezTo>
                    <a:pt x="99010" y="46976"/>
                    <a:pt x="90720" y="57569"/>
                    <a:pt x="90720" y="79667"/>
                  </a:cubicBezTo>
                  <a:lnTo>
                    <a:pt x="90720" y="111445"/>
                  </a:lnTo>
                  <a:lnTo>
                    <a:pt x="137235" y="111445"/>
                  </a:lnTo>
                  <a:lnTo>
                    <a:pt x="137235" y="157031"/>
                  </a:lnTo>
                  <a:lnTo>
                    <a:pt x="91180" y="157031"/>
                  </a:lnTo>
                  <a:lnTo>
                    <a:pt x="91180" y="345831"/>
                  </a:lnTo>
                  <a:lnTo>
                    <a:pt x="36383" y="345831"/>
                  </a:lnTo>
                  <a:lnTo>
                    <a:pt x="36383" y="157031"/>
                  </a:lnTo>
                  <a:lnTo>
                    <a:pt x="0" y="157031"/>
                  </a:lnTo>
                  <a:lnTo>
                    <a:pt x="0" y="111445"/>
                  </a:lnTo>
                  <a:lnTo>
                    <a:pt x="36383" y="111445"/>
                  </a:lnTo>
                  <a:lnTo>
                    <a:pt x="36383" y="77825"/>
                  </a:lnTo>
                  <a:cubicBezTo>
                    <a:pt x="36383" y="29015"/>
                    <a:pt x="58490" y="0"/>
                    <a:pt x="110983" y="0"/>
                  </a:cubicBezTo>
                  <a:cubicBezTo>
                    <a:pt x="122958" y="0"/>
                    <a:pt x="134472" y="1382"/>
                    <a:pt x="143674" y="5066"/>
                  </a:cubicBezTo>
                  <a:lnTo>
                    <a:pt x="143674" y="5158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1" name="Freihandform: Form 287">
              <a:extLst>
                <a:ext uri="{FF2B5EF4-FFF2-40B4-BE49-F238E27FC236}">
                  <a16:creationId xmlns:a16="http://schemas.microsoft.com/office/drawing/2014/main" id="{01D84E81-8079-0146-9BDB-51F090F16BEC}"/>
                </a:ext>
              </a:extLst>
            </p:cNvPr>
            <p:cNvSpPr/>
            <p:nvPr/>
          </p:nvSpPr>
          <p:spPr>
            <a:xfrm>
              <a:off x="7867277" y="2982353"/>
              <a:ext cx="145977" cy="315903"/>
            </a:xfrm>
            <a:custGeom>
              <a:avLst/>
              <a:gdLst>
                <a:gd name="connsiteX0" fmla="*/ 145977 w 145977"/>
                <a:gd name="connsiteY0" fmla="*/ 260185 h 315903"/>
                <a:gd name="connsiteX1" fmla="*/ 145977 w 145977"/>
                <a:gd name="connsiteY1" fmla="*/ 307153 h 315903"/>
                <a:gd name="connsiteX2" fmla="*/ 99922 w 145977"/>
                <a:gd name="connsiteY2" fmla="*/ 315903 h 315903"/>
                <a:gd name="connsiteX3" fmla="*/ 35914 w 145977"/>
                <a:gd name="connsiteY3" fmla="*/ 250053 h 315903"/>
                <a:gd name="connsiteX4" fmla="*/ 35914 w 145977"/>
                <a:gd name="connsiteY4" fmla="*/ 121577 h 315903"/>
                <a:gd name="connsiteX5" fmla="*/ 0 w 145977"/>
                <a:gd name="connsiteY5" fmla="*/ 121577 h 315903"/>
                <a:gd name="connsiteX6" fmla="*/ 0 w 145977"/>
                <a:gd name="connsiteY6" fmla="*/ 75991 h 315903"/>
                <a:gd name="connsiteX7" fmla="*/ 35454 w 145977"/>
                <a:gd name="connsiteY7" fmla="*/ 75991 h 315903"/>
                <a:gd name="connsiteX8" fmla="*/ 35454 w 145977"/>
                <a:gd name="connsiteY8" fmla="*/ 11983 h 315903"/>
                <a:gd name="connsiteX9" fmla="*/ 90251 w 145977"/>
                <a:gd name="connsiteY9" fmla="*/ 0 h 315903"/>
                <a:gd name="connsiteX10" fmla="*/ 90251 w 145977"/>
                <a:gd name="connsiteY10" fmla="*/ 75982 h 315903"/>
                <a:gd name="connsiteX11" fmla="*/ 145969 w 145977"/>
                <a:gd name="connsiteY11" fmla="*/ 75982 h 315903"/>
                <a:gd name="connsiteX12" fmla="*/ 145969 w 145977"/>
                <a:gd name="connsiteY12" fmla="*/ 121568 h 315903"/>
                <a:gd name="connsiteX13" fmla="*/ 90251 w 145977"/>
                <a:gd name="connsiteY13" fmla="*/ 121568 h 315903"/>
                <a:gd name="connsiteX14" fmla="*/ 90251 w 145977"/>
                <a:gd name="connsiteY14" fmla="*/ 237149 h 315903"/>
                <a:gd name="connsiteX15" fmla="*/ 115573 w 145977"/>
                <a:gd name="connsiteY15" fmla="*/ 268006 h 315903"/>
                <a:gd name="connsiteX16" fmla="*/ 145977 w 145977"/>
                <a:gd name="connsiteY16" fmla="*/ 260185 h 31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977" h="315903">
                  <a:moveTo>
                    <a:pt x="145977" y="260185"/>
                  </a:moveTo>
                  <a:lnTo>
                    <a:pt x="145977" y="307153"/>
                  </a:lnTo>
                  <a:cubicBezTo>
                    <a:pt x="134003" y="312680"/>
                    <a:pt x="116041" y="315903"/>
                    <a:pt x="99922" y="315903"/>
                  </a:cubicBezTo>
                  <a:cubicBezTo>
                    <a:pt x="58481" y="315903"/>
                    <a:pt x="35914" y="292876"/>
                    <a:pt x="35914" y="250053"/>
                  </a:cubicBezTo>
                  <a:lnTo>
                    <a:pt x="35914" y="121577"/>
                  </a:lnTo>
                  <a:lnTo>
                    <a:pt x="0" y="121577"/>
                  </a:lnTo>
                  <a:lnTo>
                    <a:pt x="0" y="75991"/>
                  </a:lnTo>
                  <a:lnTo>
                    <a:pt x="35454" y="75991"/>
                  </a:lnTo>
                  <a:lnTo>
                    <a:pt x="35454" y="11983"/>
                  </a:lnTo>
                  <a:lnTo>
                    <a:pt x="90251" y="0"/>
                  </a:lnTo>
                  <a:lnTo>
                    <a:pt x="90251" y="75982"/>
                  </a:lnTo>
                  <a:lnTo>
                    <a:pt x="145969" y="75982"/>
                  </a:lnTo>
                  <a:lnTo>
                    <a:pt x="145969" y="121568"/>
                  </a:lnTo>
                  <a:lnTo>
                    <a:pt x="90251" y="121568"/>
                  </a:lnTo>
                  <a:lnTo>
                    <a:pt x="90251" y="237149"/>
                  </a:lnTo>
                  <a:cubicBezTo>
                    <a:pt x="90251" y="258795"/>
                    <a:pt x="97619" y="268006"/>
                    <a:pt x="115573" y="268006"/>
                  </a:cubicBezTo>
                  <a:cubicBezTo>
                    <a:pt x="125713" y="268015"/>
                    <a:pt x="136757" y="264791"/>
                    <a:pt x="145977" y="26018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2" name="Freihandform: Form 288">
              <a:extLst>
                <a:ext uri="{FF2B5EF4-FFF2-40B4-BE49-F238E27FC236}">
                  <a16:creationId xmlns:a16="http://schemas.microsoft.com/office/drawing/2014/main" id="{746B60EE-3B74-5E42-BDB5-48D0C84E9956}"/>
                </a:ext>
              </a:extLst>
            </p:cNvPr>
            <p:cNvSpPr/>
            <p:nvPr/>
          </p:nvSpPr>
          <p:spPr>
            <a:xfrm>
              <a:off x="8049797" y="3052356"/>
              <a:ext cx="214130" cy="245899"/>
            </a:xfrm>
            <a:custGeom>
              <a:avLst/>
              <a:gdLst>
                <a:gd name="connsiteX0" fmla="*/ 116033 w 214130"/>
                <a:gd name="connsiteY0" fmla="*/ 245900 h 245899"/>
                <a:gd name="connsiteX1" fmla="*/ 0 w 214130"/>
                <a:gd name="connsiteY1" fmla="*/ 122489 h 245899"/>
                <a:gd name="connsiteX2" fmla="*/ 110054 w 214130"/>
                <a:gd name="connsiteY2" fmla="*/ 0 h 245899"/>
                <a:gd name="connsiteX3" fmla="*/ 214131 w 214130"/>
                <a:gd name="connsiteY3" fmla="*/ 119266 h 245899"/>
                <a:gd name="connsiteX4" fmla="*/ 213209 w 214130"/>
                <a:gd name="connsiteY4" fmla="*/ 141824 h 245899"/>
                <a:gd name="connsiteX5" fmla="*/ 55727 w 214130"/>
                <a:gd name="connsiteY5" fmla="*/ 141824 h 245899"/>
                <a:gd name="connsiteX6" fmla="*/ 116510 w 214130"/>
                <a:gd name="connsiteY6" fmla="*/ 198924 h 245899"/>
                <a:gd name="connsiteX7" fmla="*/ 174071 w 214130"/>
                <a:gd name="connsiteY7" fmla="*/ 171291 h 245899"/>
                <a:gd name="connsiteX8" fmla="*/ 208143 w 214130"/>
                <a:gd name="connsiteY8" fmla="*/ 207214 h 245899"/>
                <a:gd name="connsiteX9" fmla="*/ 116033 w 214130"/>
                <a:gd name="connsiteY9" fmla="*/ 245900 h 245899"/>
                <a:gd name="connsiteX10" fmla="*/ 54788 w 214130"/>
                <a:gd name="connsiteY10" fmla="*/ 101765 h 245899"/>
                <a:gd name="connsiteX11" fmla="*/ 161159 w 214130"/>
                <a:gd name="connsiteY11" fmla="*/ 101765 h 245899"/>
                <a:gd name="connsiteX12" fmla="*/ 109125 w 214130"/>
                <a:gd name="connsiteY12" fmla="*/ 45125 h 245899"/>
                <a:gd name="connsiteX13" fmla="*/ 54788 w 214130"/>
                <a:gd name="connsiteY13" fmla="*/ 101765 h 245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130" h="245899">
                  <a:moveTo>
                    <a:pt x="116033" y="245900"/>
                  </a:moveTo>
                  <a:cubicBezTo>
                    <a:pt x="46499" y="245900"/>
                    <a:pt x="0" y="196621"/>
                    <a:pt x="0" y="122489"/>
                  </a:cubicBezTo>
                  <a:cubicBezTo>
                    <a:pt x="0" y="49739"/>
                    <a:pt x="44665" y="0"/>
                    <a:pt x="110054" y="0"/>
                  </a:cubicBezTo>
                  <a:cubicBezTo>
                    <a:pt x="173141" y="0"/>
                    <a:pt x="214131" y="46968"/>
                    <a:pt x="214131" y="119266"/>
                  </a:cubicBezTo>
                  <a:cubicBezTo>
                    <a:pt x="214131" y="127095"/>
                    <a:pt x="213670" y="135385"/>
                    <a:pt x="213209" y="141824"/>
                  </a:cubicBezTo>
                  <a:lnTo>
                    <a:pt x="55727" y="141824"/>
                  </a:lnTo>
                  <a:cubicBezTo>
                    <a:pt x="61714" y="178207"/>
                    <a:pt x="83351" y="198924"/>
                    <a:pt x="116510" y="198924"/>
                  </a:cubicBezTo>
                  <a:cubicBezTo>
                    <a:pt x="138147" y="198924"/>
                    <a:pt x="155649" y="190634"/>
                    <a:pt x="174071" y="171291"/>
                  </a:cubicBezTo>
                  <a:lnTo>
                    <a:pt x="208143" y="207214"/>
                  </a:lnTo>
                  <a:cubicBezTo>
                    <a:pt x="181423" y="233465"/>
                    <a:pt x="151487" y="245900"/>
                    <a:pt x="116033" y="245900"/>
                  </a:cubicBezTo>
                  <a:close/>
                  <a:moveTo>
                    <a:pt x="54788" y="101765"/>
                  </a:moveTo>
                  <a:lnTo>
                    <a:pt x="161159" y="101765"/>
                  </a:lnTo>
                  <a:cubicBezTo>
                    <a:pt x="158864" y="65850"/>
                    <a:pt x="139981" y="45125"/>
                    <a:pt x="109125" y="45125"/>
                  </a:cubicBezTo>
                  <a:cubicBezTo>
                    <a:pt x="78729" y="45134"/>
                    <a:pt x="59394" y="65390"/>
                    <a:pt x="54788" y="101765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3" name="Freihandform: Form 289">
              <a:extLst>
                <a:ext uri="{FF2B5EF4-FFF2-40B4-BE49-F238E27FC236}">
                  <a16:creationId xmlns:a16="http://schemas.microsoft.com/office/drawing/2014/main" id="{130A88CC-2055-9D46-A3AB-5C259A9E4297}"/>
                </a:ext>
              </a:extLst>
            </p:cNvPr>
            <p:cNvSpPr/>
            <p:nvPr/>
          </p:nvSpPr>
          <p:spPr>
            <a:xfrm>
              <a:off x="8323756" y="3052365"/>
              <a:ext cx="201695" cy="240373"/>
            </a:xfrm>
            <a:custGeom>
              <a:avLst/>
              <a:gdLst>
                <a:gd name="connsiteX0" fmla="*/ 201696 w 201695"/>
                <a:gd name="connsiteY0" fmla="*/ 240365 h 240373"/>
                <a:gd name="connsiteX1" fmla="*/ 146890 w 201695"/>
                <a:gd name="connsiteY1" fmla="*/ 240365 h 240373"/>
                <a:gd name="connsiteX2" fmla="*/ 146890 w 201695"/>
                <a:gd name="connsiteY2" fmla="*/ 106362 h 240373"/>
                <a:gd name="connsiteX3" fmla="*/ 103607 w 201695"/>
                <a:gd name="connsiteY3" fmla="*/ 49262 h 240373"/>
                <a:gd name="connsiteX4" fmla="*/ 54798 w 201695"/>
                <a:gd name="connsiteY4" fmla="*/ 105910 h 240373"/>
                <a:gd name="connsiteX5" fmla="*/ 54798 w 201695"/>
                <a:gd name="connsiteY5" fmla="*/ 240373 h 240373"/>
                <a:gd name="connsiteX6" fmla="*/ 0 w 201695"/>
                <a:gd name="connsiteY6" fmla="*/ 240373 h 240373"/>
                <a:gd name="connsiteX7" fmla="*/ 0 w 201695"/>
                <a:gd name="connsiteY7" fmla="*/ 5987 h 240373"/>
                <a:gd name="connsiteX8" fmla="*/ 54337 w 201695"/>
                <a:gd name="connsiteY8" fmla="*/ 5987 h 240373"/>
                <a:gd name="connsiteX9" fmla="*/ 54337 w 201695"/>
                <a:gd name="connsiteY9" fmla="*/ 34072 h 240373"/>
                <a:gd name="connsiteX10" fmla="*/ 55249 w 201695"/>
                <a:gd name="connsiteY10" fmla="*/ 34072 h 240373"/>
                <a:gd name="connsiteX11" fmla="*/ 124324 w 201695"/>
                <a:gd name="connsiteY11" fmla="*/ 0 h 240373"/>
                <a:gd name="connsiteX12" fmla="*/ 201688 w 201695"/>
                <a:gd name="connsiteY12" fmla="*/ 94856 h 240373"/>
                <a:gd name="connsiteX13" fmla="*/ 201688 w 201695"/>
                <a:gd name="connsiteY13" fmla="*/ 240365 h 24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1695" h="240373">
                  <a:moveTo>
                    <a:pt x="201696" y="240365"/>
                  </a:moveTo>
                  <a:lnTo>
                    <a:pt x="146890" y="240365"/>
                  </a:lnTo>
                  <a:lnTo>
                    <a:pt x="146890" y="106362"/>
                  </a:lnTo>
                  <a:cubicBezTo>
                    <a:pt x="146890" y="72290"/>
                    <a:pt x="136767" y="49262"/>
                    <a:pt x="103607" y="49262"/>
                  </a:cubicBezTo>
                  <a:cubicBezTo>
                    <a:pt x="65390" y="49262"/>
                    <a:pt x="54798" y="80579"/>
                    <a:pt x="54798" y="105910"/>
                  </a:cubicBezTo>
                  <a:lnTo>
                    <a:pt x="54798" y="240373"/>
                  </a:lnTo>
                  <a:lnTo>
                    <a:pt x="0" y="240373"/>
                  </a:lnTo>
                  <a:lnTo>
                    <a:pt x="0" y="5987"/>
                  </a:lnTo>
                  <a:lnTo>
                    <a:pt x="54337" y="5987"/>
                  </a:lnTo>
                  <a:lnTo>
                    <a:pt x="54337" y="34072"/>
                  </a:lnTo>
                  <a:lnTo>
                    <a:pt x="55249" y="34072"/>
                  </a:lnTo>
                  <a:cubicBezTo>
                    <a:pt x="69066" y="13348"/>
                    <a:pt x="93935" y="0"/>
                    <a:pt x="124324" y="0"/>
                  </a:cubicBezTo>
                  <a:cubicBezTo>
                    <a:pt x="177739" y="0"/>
                    <a:pt x="201688" y="39138"/>
                    <a:pt x="201688" y="94856"/>
                  </a:cubicBezTo>
                  <a:lnTo>
                    <a:pt x="201688" y="240365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4" name="Freihandform: Form 290">
              <a:extLst>
                <a:ext uri="{FF2B5EF4-FFF2-40B4-BE49-F238E27FC236}">
                  <a16:creationId xmlns:a16="http://schemas.microsoft.com/office/drawing/2014/main" id="{3395C0E0-7108-1441-9D16-60C76E734E62}"/>
                </a:ext>
              </a:extLst>
            </p:cNvPr>
            <p:cNvSpPr/>
            <p:nvPr/>
          </p:nvSpPr>
          <p:spPr>
            <a:xfrm>
              <a:off x="8741466" y="2935854"/>
              <a:ext cx="31309" cy="452200"/>
            </a:xfrm>
            <a:custGeom>
              <a:avLst/>
              <a:gdLst>
                <a:gd name="connsiteX0" fmla="*/ 31309 w 31309"/>
                <a:gd name="connsiteY0" fmla="*/ 452201 h 452200"/>
                <a:gd name="connsiteX1" fmla="*/ 0 w 31309"/>
                <a:gd name="connsiteY1" fmla="*/ 452201 h 452200"/>
                <a:gd name="connsiteX2" fmla="*/ 0 w 31309"/>
                <a:gd name="connsiteY2" fmla="*/ 0 h 452200"/>
                <a:gd name="connsiteX3" fmla="*/ 31309 w 31309"/>
                <a:gd name="connsiteY3" fmla="*/ 0 h 452200"/>
                <a:gd name="connsiteX4" fmla="*/ 31309 w 31309"/>
                <a:gd name="connsiteY4" fmla="*/ 452201 h 45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09" h="452200">
                  <a:moveTo>
                    <a:pt x="31309" y="452201"/>
                  </a:moveTo>
                  <a:lnTo>
                    <a:pt x="0" y="452201"/>
                  </a:lnTo>
                  <a:lnTo>
                    <a:pt x="0" y="0"/>
                  </a:lnTo>
                  <a:lnTo>
                    <a:pt x="31309" y="0"/>
                  </a:lnTo>
                  <a:lnTo>
                    <a:pt x="31309" y="452201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5" name="Freihandform: Form 291">
              <a:extLst>
                <a:ext uri="{FF2B5EF4-FFF2-40B4-BE49-F238E27FC236}">
                  <a16:creationId xmlns:a16="http://schemas.microsoft.com/office/drawing/2014/main" id="{BE188E28-8C81-C948-981E-9C491190E489}"/>
                </a:ext>
              </a:extLst>
            </p:cNvPr>
            <p:cNvSpPr/>
            <p:nvPr/>
          </p:nvSpPr>
          <p:spPr>
            <a:xfrm>
              <a:off x="8970820" y="2968545"/>
              <a:ext cx="398768" cy="324184"/>
            </a:xfrm>
            <a:custGeom>
              <a:avLst/>
              <a:gdLst>
                <a:gd name="connsiteX0" fmla="*/ 0 w 398768"/>
                <a:gd name="connsiteY0" fmla="*/ 0 h 324184"/>
                <a:gd name="connsiteX1" fmla="*/ 60323 w 398768"/>
                <a:gd name="connsiteY1" fmla="*/ 0 h 324184"/>
                <a:gd name="connsiteX2" fmla="*/ 113278 w 398768"/>
                <a:gd name="connsiteY2" fmla="*/ 234847 h 324184"/>
                <a:gd name="connsiteX3" fmla="*/ 114200 w 398768"/>
                <a:gd name="connsiteY3" fmla="*/ 234847 h 324184"/>
                <a:gd name="connsiteX4" fmla="*/ 169909 w 398768"/>
                <a:gd name="connsiteY4" fmla="*/ 0 h 324184"/>
                <a:gd name="connsiteX5" fmla="*/ 229773 w 398768"/>
                <a:gd name="connsiteY5" fmla="*/ 0 h 324184"/>
                <a:gd name="connsiteX6" fmla="*/ 286872 w 398768"/>
                <a:gd name="connsiteY6" fmla="*/ 234847 h 324184"/>
                <a:gd name="connsiteX7" fmla="*/ 287785 w 398768"/>
                <a:gd name="connsiteY7" fmla="*/ 234847 h 324184"/>
                <a:gd name="connsiteX8" fmla="*/ 339358 w 398768"/>
                <a:gd name="connsiteY8" fmla="*/ 0 h 324184"/>
                <a:gd name="connsiteX9" fmla="*/ 398768 w 398768"/>
                <a:gd name="connsiteY9" fmla="*/ 0 h 324184"/>
                <a:gd name="connsiteX10" fmla="*/ 317260 w 398768"/>
                <a:gd name="connsiteY10" fmla="*/ 324185 h 324184"/>
                <a:gd name="connsiteX11" fmla="*/ 257857 w 398768"/>
                <a:gd name="connsiteY11" fmla="*/ 324185 h 324184"/>
                <a:gd name="connsiteX12" fmla="*/ 199837 w 398768"/>
                <a:gd name="connsiteY12" fmla="*/ 86575 h 324184"/>
                <a:gd name="connsiteX13" fmla="*/ 198916 w 398768"/>
                <a:gd name="connsiteY13" fmla="*/ 86575 h 324184"/>
                <a:gd name="connsiteX14" fmla="*/ 140895 w 398768"/>
                <a:gd name="connsiteY14" fmla="*/ 324185 h 324184"/>
                <a:gd name="connsiteX15" fmla="*/ 81032 w 398768"/>
                <a:gd name="connsiteY15" fmla="*/ 324185 h 324184"/>
                <a:gd name="connsiteX16" fmla="*/ 0 w 398768"/>
                <a:gd name="connsiteY16" fmla="*/ 0 h 32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8768" h="324184">
                  <a:moveTo>
                    <a:pt x="0" y="0"/>
                  </a:moveTo>
                  <a:lnTo>
                    <a:pt x="60323" y="0"/>
                  </a:lnTo>
                  <a:lnTo>
                    <a:pt x="113278" y="234847"/>
                  </a:lnTo>
                  <a:lnTo>
                    <a:pt x="114200" y="234847"/>
                  </a:lnTo>
                  <a:lnTo>
                    <a:pt x="169909" y="0"/>
                  </a:lnTo>
                  <a:lnTo>
                    <a:pt x="229773" y="0"/>
                  </a:lnTo>
                  <a:lnTo>
                    <a:pt x="286872" y="234847"/>
                  </a:lnTo>
                  <a:lnTo>
                    <a:pt x="287785" y="234847"/>
                  </a:lnTo>
                  <a:lnTo>
                    <a:pt x="339358" y="0"/>
                  </a:lnTo>
                  <a:lnTo>
                    <a:pt x="398768" y="0"/>
                  </a:lnTo>
                  <a:lnTo>
                    <a:pt x="317260" y="324185"/>
                  </a:lnTo>
                  <a:lnTo>
                    <a:pt x="257857" y="324185"/>
                  </a:lnTo>
                  <a:lnTo>
                    <a:pt x="199837" y="86575"/>
                  </a:lnTo>
                  <a:lnTo>
                    <a:pt x="198916" y="86575"/>
                  </a:lnTo>
                  <a:lnTo>
                    <a:pt x="140895" y="324185"/>
                  </a:lnTo>
                  <a:lnTo>
                    <a:pt x="81032" y="324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6" name="Freihandform: Form 292">
              <a:extLst>
                <a:ext uri="{FF2B5EF4-FFF2-40B4-BE49-F238E27FC236}">
                  <a16:creationId xmlns:a16="http://schemas.microsoft.com/office/drawing/2014/main" id="{BD522304-05FD-9B45-9FEC-ADB7C49BF4C8}"/>
                </a:ext>
              </a:extLst>
            </p:cNvPr>
            <p:cNvSpPr/>
            <p:nvPr/>
          </p:nvSpPr>
          <p:spPr>
            <a:xfrm>
              <a:off x="9415753" y="2954268"/>
              <a:ext cx="69534" cy="338461"/>
            </a:xfrm>
            <a:custGeom>
              <a:avLst/>
              <a:gdLst>
                <a:gd name="connsiteX0" fmla="*/ 69534 w 69534"/>
                <a:gd name="connsiteY0" fmla="*/ 33160 h 338461"/>
                <a:gd name="connsiteX1" fmla="*/ 34533 w 69534"/>
                <a:gd name="connsiteY1" fmla="*/ 66311 h 338461"/>
                <a:gd name="connsiteX2" fmla="*/ 0 w 69534"/>
                <a:gd name="connsiteY2" fmla="*/ 33160 h 338461"/>
                <a:gd name="connsiteX3" fmla="*/ 34533 w 69534"/>
                <a:gd name="connsiteY3" fmla="*/ 0 h 338461"/>
                <a:gd name="connsiteX4" fmla="*/ 69534 w 69534"/>
                <a:gd name="connsiteY4" fmla="*/ 33160 h 338461"/>
                <a:gd name="connsiteX5" fmla="*/ 62165 w 69534"/>
                <a:gd name="connsiteY5" fmla="*/ 338462 h 338461"/>
                <a:gd name="connsiteX6" fmla="*/ 7369 w 69534"/>
                <a:gd name="connsiteY6" fmla="*/ 338462 h 338461"/>
                <a:gd name="connsiteX7" fmla="*/ 7369 w 69534"/>
                <a:gd name="connsiteY7" fmla="*/ 104076 h 338461"/>
                <a:gd name="connsiteX8" fmla="*/ 62165 w 69534"/>
                <a:gd name="connsiteY8" fmla="*/ 104076 h 338461"/>
                <a:gd name="connsiteX9" fmla="*/ 62165 w 69534"/>
                <a:gd name="connsiteY9" fmla="*/ 338462 h 338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4" h="338461">
                  <a:moveTo>
                    <a:pt x="69534" y="33160"/>
                  </a:moveTo>
                  <a:cubicBezTo>
                    <a:pt x="69534" y="52503"/>
                    <a:pt x="53876" y="66311"/>
                    <a:pt x="34533" y="66311"/>
                  </a:cubicBezTo>
                  <a:cubicBezTo>
                    <a:pt x="15650" y="66311"/>
                    <a:pt x="0" y="52503"/>
                    <a:pt x="0" y="33160"/>
                  </a:cubicBezTo>
                  <a:cubicBezTo>
                    <a:pt x="0" y="14277"/>
                    <a:pt x="15650" y="0"/>
                    <a:pt x="34533" y="0"/>
                  </a:cubicBezTo>
                  <a:cubicBezTo>
                    <a:pt x="53876" y="0"/>
                    <a:pt x="69534" y="14277"/>
                    <a:pt x="69534" y="33160"/>
                  </a:cubicBezTo>
                  <a:close/>
                  <a:moveTo>
                    <a:pt x="62165" y="338462"/>
                  </a:moveTo>
                  <a:lnTo>
                    <a:pt x="7369" y="338462"/>
                  </a:lnTo>
                  <a:lnTo>
                    <a:pt x="7369" y="104076"/>
                  </a:lnTo>
                  <a:lnTo>
                    <a:pt x="62165" y="104076"/>
                  </a:lnTo>
                  <a:lnTo>
                    <a:pt x="62165" y="338462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7" name="Freihandform: Form 293">
              <a:extLst>
                <a:ext uri="{FF2B5EF4-FFF2-40B4-BE49-F238E27FC236}">
                  <a16:creationId xmlns:a16="http://schemas.microsoft.com/office/drawing/2014/main" id="{A51A11CC-8B87-C44C-AB51-56AAE0918B9D}"/>
                </a:ext>
              </a:extLst>
            </p:cNvPr>
            <p:cNvSpPr/>
            <p:nvPr/>
          </p:nvSpPr>
          <p:spPr>
            <a:xfrm>
              <a:off x="9528805" y="2963018"/>
              <a:ext cx="227486" cy="335246"/>
            </a:xfrm>
            <a:custGeom>
              <a:avLst/>
              <a:gdLst>
                <a:gd name="connsiteX0" fmla="*/ 36383 w 227486"/>
                <a:gd name="connsiteY0" fmla="*/ 245900 h 335246"/>
                <a:gd name="connsiteX1" fmla="*/ 116971 w 227486"/>
                <a:gd name="connsiteY1" fmla="*/ 282283 h 335246"/>
                <a:gd name="connsiteX2" fmla="*/ 169466 w 227486"/>
                <a:gd name="connsiteY2" fmla="*/ 241755 h 335246"/>
                <a:gd name="connsiteX3" fmla="*/ 10601 w 227486"/>
                <a:gd name="connsiteY3" fmla="*/ 93944 h 335246"/>
                <a:gd name="connsiteX4" fmla="*/ 120656 w 227486"/>
                <a:gd name="connsiteY4" fmla="*/ 0 h 335246"/>
                <a:gd name="connsiteX5" fmla="*/ 225183 w 227486"/>
                <a:gd name="connsiteY5" fmla="*/ 39147 h 335246"/>
                <a:gd name="connsiteX6" fmla="*/ 188808 w 227486"/>
                <a:gd name="connsiteY6" fmla="*/ 83812 h 335246"/>
                <a:gd name="connsiteX7" fmla="*/ 117884 w 227486"/>
                <a:gd name="connsiteY7" fmla="*/ 52503 h 335246"/>
                <a:gd name="connsiteX8" fmla="*/ 68613 w 227486"/>
                <a:gd name="connsiteY8" fmla="*/ 88886 h 335246"/>
                <a:gd name="connsiteX9" fmla="*/ 227486 w 227486"/>
                <a:gd name="connsiteY9" fmla="*/ 237158 h 335246"/>
                <a:gd name="connsiteX10" fmla="*/ 115590 w 227486"/>
                <a:gd name="connsiteY10" fmla="*/ 335246 h 335246"/>
                <a:gd name="connsiteX11" fmla="*/ 0 w 227486"/>
                <a:gd name="connsiteY11" fmla="*/ 290573 h 335246"/>
                <a:gd name="connsiteX12" fmla="*/ 36383 w 227486"/>
                <a:gd name="connsiteY12" fmla="*/ 245900 h 33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7486" h="335246">
                  <a:moveTo>
                    <a:pt x="36383" y="245900"/>
                  </a:moveTo>
                  <a:cubicBezTo>
                    <a:pt x="60323" y="268927"/>
                    <a:pt x="89799" y="282283"/>
                    <a:pt x="116971" y="282283"/>
                  </a:cubicBezTo>
                  <a:cubicBezTo>
                    <a:pt x="147359" y="282283"/>
                    <a:pt x="169466" y="265243"/>
                    <a:pt x="169466" y="241755"/>
                  </a:cubicBezTo>
                  <a:cubicBezTo>
                    <a:pt x="169466" y="179589"/>
                    <a:pt x="10601" y="198932"/>
                    <a:pt x="10601" y="93944"/>
                  </a:cubicBezTo>
                  <a:cubicBezTo>
                    <a:pt x="10601" y="38226"/>
                    <a:pt x="55727" y="0"/>
                    <a:pt x="120656" y="0"/>
                  </a:cubicBezTo>
                  <a:cubicBezTo>
                    <a:pt x="159342" y="0"/>
                    <a:pt x="195256" y="13356"/>
                    <a:pt x="225183" y="39147"/>
                  </a:cubicBezTo>
                  <a:lnTo>
                    <a:pt x="188808" y="83812"/>
                  </a:lnTo>
                  <a:cubicBezTo>
                    <a:pt x="165321" y="63087"/>
                    <a:pt x="141841" y="52503"/>
                    <a:pt x="117884" y="52503"/>
                  </a:cubicBezTo>
                  <a:cubicBezTo>
                    <a:pt x="89339" y="52503"/>
                    <a:pt x="68613" y="67692"/>
                    <a:pt x="68613" y="88886"/>
                  </a:cubicBezTo>
                  <a:cubicBezTo>
                    <a:pt x="68613" y="147359"/>
                    <a:pt x="227486" y="128024"/>
                    <a:pt x="227486" y="237158"/>
                  </a:cubicBezTo>
                  <a:cubicBezTo>
                    <a:pt x="227486" y="295639"/>
                    <a:pt x="182352" y="335246"/>
                    <a:pt x="115590" y="335246"/>
                  </a:cubicBezTo>
                  <a:cubicBezTo>
                    <a:pt x="72767" y="335246"/>
                    <a:pt x="30857" y="319127"/>
                    <a:pt x="0" y="290573"/>
                  </a:cubicBezTo>
                  <a:lnTo>
                    <a:pt x="36383" y="245900"/>
                  </a:ln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Freihandform: Form 294">
              <a:extLst>
                <a:ext uri="{FF2B5EF4-FFF2-40B4-BE49-F238E27FC236}">
                  <a16:creationId xmlns:a16="http://schemas.microsoft.com/office/drawing/2014/main" id="{FDD6B35D-53A4-614E-8257-E137E5BCEE7C}"/>
                </a:ext>
              </a:extLst>
            </p:cNvPr>
            <p:cNvSpPr/>
            <p:nvPr/>
          </p:nvSpPr>
          <p:spPr>
            <a:xfrm>
              <a:off x="9804959" y="3052356"/>
              <a:ext cx="225636" cy="245908"/>
            </a:xfrm>
            <a:custGeom>
              <a:avLst/>
              <a:gdLst>
                <a:gd name="connsiteX0" fmla="*/ 0 w 225636"/>
                <a:gd name="connsiteY0" fmla="*/ 122950 h 245908"/>
                <a:gd name="connsiteX1" fmla="*/ 113739 w 225636"/>
                <a:gd name="connsiteY1" fmla="*/ 0 h 245908"/>
                <a:gd name="connsiteX2" fmla="*/ 225636 w 225636"/>
                <a:gd name="connsiteY2" fmla="*/ 122950 h 245908"/>
                <a:gd name="connsiteX3" fmla="*/ 113739 w 225636"/>
                <a:gd name="connsiteY3" fmla="*/ 245908 h 245908"/>
                <a:gd name="connsiteX4" fmla="*/ 0 w 225636"/>
                <a:gd name="connsiteY4" fmla="*/ 122950 h 245908"/>
                <a:gd name="connsiteX5" fmla="*/ 171300 w 225636"/>
                <a:gd name="connsiteY5" fmla="*/ 123410 h 245908"/>
                <a:gd name="connsiteX6" fmla="*/ 112818 w 225636"/>
                <a:gd name="connsiteY6" fmla="*/ 49731 h 245908"/>
                <a:gd name="connsiteX7" fmla="*/ 54345 w 225636"/>
                <a:gd name="connsiteY7" fmla="*/ 122481 h 245908"/>
                <a:gd name="connsiteX8" fmla="*/ 113287 w 225636"/>
                <a:gd name="connsiteY8" fmla="*/ 196621 h 245908"/>
                <a:gd name="connsiteX9" fmla="*/ 171300 w 225636"/>
                <a:gd name="connsiteY9" fmla="*/ 123410 h 24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636" h="245908">
                  <a:moveTo>
                    <a:pt x="0" y="122950"/>
                  </a:moveTo>
                  <a:cubicBezTo>
                    <a:pt x="0" y="49270"/>
                    <a:pt x="45586" y="0"/>
                    <a:pt x="113739" y="0"/>
                  </a:cubicBezTo>
                  <a:cubicBezTo>
                    <a:pt x="181431" y="0"/>
                    <a:pt x="225636" y="48349"/>
                    <a:pt x="225636" y="122950"/>
                  </a:cubicBezTo>
                  <a:cubicBezTo>
                    <a:pt x="225636" y="196629"/>
                    <a:pt x="181884" y="245908"/>
                    <a:pt x="113739" y="245908"/>
                  </a:cubicBezTo>
                  <a:cubicBezTo>
                    <a:pt x="46047" y="245900"/>
                    <a:pt x="0" y="197090"/>
                    <a:pt x="0" y="122950"/>
                  </a:cubicBezTo>
                  <a:close/>
                  <a:moveTo>
                    <a:pt x="171300" y="123410"/>
                  </a:moveTo>
                  <a:cubicBezTo>
                    <a:pt x="171300" y="77824"/>
                    <a:pt x="148741" y="49731"/>
                    <a:pt x="112818" y="49731"/>
                  </a:cubicBezTo>
                  <a:cubicBezTo>
                    <a:pt x="76443" y="49731"/>
                    <a:pt x="54345" y="77816"/>
                    <a:pt x="54345" y="122481"/>
                  </a:cubicBezTo>
                  <a:cubicBezTo>
                    <a:pt x="54345" y="168067"/>
                    <a:pt x="76903" y="196621"/>
                    <a:pt x="113287" y="196621"/>
                  </a:cubicBezTo>
                  <a:cubicBezTo>
                    <a:pt x="149193" y="196629"/>
                    <a:pt x="171300" y="168536"/>
                    <a:pt x="171300" y="123410"/>
                  </a:cubicBezTo>
                  <a:close/>
                </a:path>
              </a:pathLst>
            </a:custGeom>
            <a:grpFill/>
            <a:ln w="83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89" name="Freihandform: Form 92">
            <a:extLst>
              <a:ext uri="{FF2B5EF4-FFF2-40B4-BE49-F238E27FC236}">
                <a16:creationId xmlns:a16="http://schemas.microsoft.com/office/drawing/2014/main" id="{FFD1B120-0C8C-FE4B-BEEB-E62E3BAE19A0}"/>
              </a:ext>
            </a:extLst>
          </p:cNvPr>
          <p:cNvSpPr/>
          <p:nvPr userDrawn="1"/>
        </p:nvSpPr>
        <p:spPr>
          <a:xfrm>
            <a:off x="10272160" y="300704"/>
            <a:ext cx="1403903" cy="535987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rgbClr val="041E42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1631156"/>
            <a:ext cx="11157745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5C59997-58CB-4A34-A7D6-744D4117F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25613776-0F22-42BA-AE5A-1B73727AAD1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4D5745E-E636-484E-8028-8021CCFDEC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024A1079-17C2-45DE-A16B-14C152A08F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6329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E5E3F57-04C9-40C7-B10F-E51808253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6791738E-1095-45F8-98E2-D057FFD19CA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3212EE7-978B-435B-B747-4DF34057F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59413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36A777D-D5C6-4E84-A9C9-D0F4836A4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D304591F-2FC9-4C29-9FE5-537955E3B9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8318" y="1631157"/>
            <a:ext cx="3568821" cy="45696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D0C47385-EF97-44EE-867E-E9365B44CA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242" y="1631157"/>
            <a:ext cx="3568821" cy="45696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E3F53468-6A74-4DFC-93FD-A760B96196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12780" y="1631157"/>
            <a:ext cx="3568821" cy="456961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86333803-0B38-4F61-95AE-49DCFFD7FB8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8BEEA51-35F2-44B9-8FA6-474AFBCFB0F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66738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E5E3F57-04C9-40C7-B10F-E51808253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3A0E3338-4E71-4920-9A06-A4D408E5A29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5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8D50DB04-91D7-4C23-96CE-09E0502D14C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A160CC5-8A59-46D3-A1D7-F21A3B6955D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66463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3A0E3338-4E71-4920-9A06-A4D408E5A29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318" y="1631155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2099" y="6634666"/>
            <a:ext cx="193964" cy="123111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C50F1EF-7CD3-4F38-8BE6-ED3FCE2DB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6331" y="1631156"/>
            <a:ext cx="5469732" cy="456961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E5E3F57-04C9-40C7-B10F-E51808253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1C6D487A-3469-4A14-880C-0C0352BFC29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65A4D142-596E-4394-B407-65001A377D3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rgbClr val="041E4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12820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DEA3104-161E-2F75-9678-FA58B688E2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747247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EA3104-161E-2F75-9678-FA58B688E2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9. Februar 2024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5469732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196733"/>
            <a:ext cx="11676062" cy="72000"/>
          </a:xfrm>
          <a:prstGeom prst="rect">
            <a:avLst/>
          </a:prstGeom>
          <a:solidFill>
            <a:srgbClr val="C50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rgbClr val="C50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94ED806-CB19-40CC-A79A-590CC1E2001C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133350" y="2711163"/>
            <a:chExt cx="333375" cy="136812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4AAF1C65-9B2D-4CC2-AC17-D265DC4D73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1A82F2D7-59C8-4661-B851-DC008AA6297D}"/>
                </a:ext>
              </a:extLst>
            </p:cNvPr>
            <p:cNvSpPr txBox="1"/>
            <p:nvPr userDrawn="1"/>
          </p:nvSpPr>
          <p:spPr>
            <a:xfrm>
              <a:off x="-96506" y="271116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11FD6C4-2ACB-4F36-A3BA-68BAE793E096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133350" y="2711163"/>
            <a:chExt cx="333375" cy="136812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79170BC-C4E0-4FC8-93EA-CB17C93272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CF57888-5707-459D-94AC-235CE0EBEDD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03014F4-59EC-4961-A29D-259A33C423B3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133350" y="2711163"/>
            <a:chExt cx="333375" cy="136812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D8E14DC-3898-4BA1-91EA-46ADC917A5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61BB5C6B-8FE1-44A4-AE66-C1DB01AE301C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9991022-C87B-4402-BF68-CD3ED59D5D85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133350" y="2711163"/>
            <a:chExt cx="333375" cy="136812"/>
          </a:xfrm>
        </p:grpSpPr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39873FE-8996-424A-94FE-EEEEC0A7B6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A04C5416-0A35-4C8C-8975-2F5057F69C48}"/>
                </a:ext>
              </a:extLst>
            </p:cNvPr>
            <p:cNvSpPr txBox="1"/>
            <p:nvPr userDrawn="1"/>
          </p:nvSpPr>
          <p:spPr>
            <a:xfrm>
              <a:off x="-96505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F9A881D-D6E0-4814-9AA3-AAF6697A620E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133350" y="2711163"/>
            <a:chExt cx="333375" cy="136812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ECA5DFD-01F8-49BC-9DE9-EE577F9B40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0348451A-09A8-4D76-AA86-13CB9E640770}"/>
                </a:ext>
              </a:extLst>
            </p:cNvPr>
            <p:cNvSpPr txBox="1"/>
            <p:nvPr userDrawn="1"/>
          </p:nvSpPr>
          <p:spPr>
            <a:xfrm>
              <a:off x="-96504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24DF2EB-9047-4DDA-A12A-4BAC4962F78F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133350" y="2711163"/>
            <a:chExt cx="333375" cy="136812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90A038D-AD14-4251-A0A9-22A5F6713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9E3D1027-C73A-4F88-AB8D-55680AB053E7}"/>
                </a:ext>
              </a:extLst>
            </p:cNvPr>
            <p:cNvSpPr txBox="1"/>
            <p:nvPr userDrawn="1"/>
          </p:nvSpPr>
          <p:spPr>
            <a:xfrm>
              <a:off x="-96503" y="27111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6244944-3F97-4474-9D4A-3D31BFBC3DF9}"/>
              </a:ext>
            </a:extLst>
          </p:cNvPr>
          <p:cNvGrpSpPr/>
          <p:nvPr userDrawn="1"/>
        </p:nvGrpSpPr>
        <p:grpSpPr>
          <a:xfrm rot="16200000">
            <a:off x="281643" y="-299136"/>
            <a:ext cx="333375" cy="136808"/>
            <a:chOff x="-133350" y="2711167"/>
            <a:chExt cx="333375" cy="136808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7182CE3-E874-4552-B5B3-4076C99089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DFE6B92B-AC01-4482-A6E7-400EF0E7F9ED}"/>
                </a:ext>
              </a:extLst>
            </p:cNvPr>
            <p:cNvSpPr txBox="1"/>
            <p:nvPr userDrawn="1"/>
          </p:nvSpPr>
          <p:spPr>
            <a:xfrm>
              <a:off x="-96507" y="271116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5EC5B3E5-86C1-4027-A74F-789345DFA684}"/>
              </a:ext>
            </a:extLst>
          </p:cNvPr>
          <p:cNvGrpSpPr/>
          <p:nvPr userDrawn="1"/>
        </p:nvGrpSpPr>
        <p:grpSpPr>
          <a:xfrm rot="16200000">
            <a:off x="5752963" y="-299136"/>
            <a:ext cx="333375" cy="136804"/>
            <a:chOff x="-133350" y="2711171"/>
            <a:chExt cx="333375" cy="136804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7B62256D-25C9-4899-8A3A-7970EB4706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29A2699B-FFE8-4320-BD7A-68D214D9A58B}"/>
                </a:ext>
              </a:extLst>
            </p:cNvPr>
            <p:cNvSpPr txBox="1"/>
            <p:nvPr userDrawn="1"/>
          </p:nvSpPr>
          <p:spPr>
            <a:xfrm>
              <a:off x="-96504" y="271117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1A9EBBA-C118-4592-8B41-99FA797C19C4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416680" y="-397424"/>
            <a:chExt cx="124906" cy="333375"/>
          </a:xfrm>
        </p:grpSpPr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45C123C4-4121-4372-95DF-DC232FC6A3E1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249993" y="-230736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10C304B0-38F3-48B3-A23F-BE3EEAF774D6}"/>
                </a:ext>
              </a:extLst>
            </p:cNvPr>
            <p:cNvSpPr txBox="1"/>
            <p:nvPr userDrawn="1"/>
          </p:nvSpPr>
          <p:spPr>
            <a:xfrm rot="16200000">
              <a:off x="634928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EA609601-D94C-4D05-A7EF-EBA9D6ACA000}"/>
              </a:ext>
            </a:extLst>
          </p:cNvPr>
          <p:cNvCxnSpPr>
            <a:cxnSpLocks/>
          </p:cNvCxnSpPr>
          <p:nvPr userDrawn="1"/>
        </p:nvCxnSpPr>
        <p:spPr>
          <a:xfrm rot="16200000">
            <a:off x="5929313" y="-230736"/>
            <a:ext cx="3333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E2CEB042-C849-4BE4-A0F0-03828777E713}"/>
              </a:ext>
            </a:extLst>
          </p:cNvPr>
          <p:cNvGrpSpPr/>
          <p:nvPr userDrawn="1"/>
        </p:nvGrpSpPr>
        <p:grpSpPr>
          <a:xfrm rot="16200000">
            <a:off x="11447325" y="-299139"/>
            <a:ext cx="333375" cy="136800"/>
            <a:chOff x="-133350" y="2711175"/>
            <a:chExt cx="333375" cy="136800"/>
          </a:xfrm>
        </p:grpSpPr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A58E387D-7C2C-4001-94B6-8372A7A130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33350" y="2847975"/>
              <a:ext cx="33337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29EC0E69-66B7-4E97-B0AC-9CFA0DDEC604}"/>
                </a:ext>
              </a:extLst>
            </p:cNvPr>
            <p:cNvSpPr txBox="1"/>
            <p:nvPr userDrawn="1"/>
          </p:nvSpPr>
          <p:spPr>
            <a:xfrm>
              <a:off x="-96501" y="2711175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44" name="Freihandform: Form 43">
            <a:extLst>
              <a:ext uri="{FF2B5EF4-FFF2-40B4-BE49-F238E27FC236}">
                <a16:creationId xmlns:a16="http://schemas.microsoft.com/office/drawing/2014/main" id="{5455B7B7-D66F-4A5D-9E90-5BA38D64518F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image" Target="../media/image1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6" Type="http://schemas.openxmlformats.org/officeDocument/2006/relationships/image" Target="../media/image2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6" Type="http://schemas.openxmlformats.org/officeDocument/2006/relationships/image" Target="../media/image2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6" Type="http://schemas.openxmlformats.org/officeDocument/2006/relationships/image" Target="../media/image2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6" Type="http://schemas.openxmlformats.org/officeDocument/2006/relationships/image" Target="../media/image2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Relationship Id="rId6" Type="http://schemas.openxmlformats.org/officeDocument/2006/relationships/image" Target="../media/image2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8.xml"/><Relationship Id="rId6" Type="http://schemas.openxmlformats.org/officeDocument/2006/relationships/image" Target="../media/image2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6" Type="http://schemas.openxmlformats.org/officeDocument/2006/relationships/image" Target="../media/image2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0.xml"/><Relationship Id="rId6" Type="http://schemas.openxmlformats.org/officeDocument/2006/relationships/image" Target="../media/image2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1.xml"/><Relationship Id="rId6" Type="http://schemas.openxmlformats.org/officeDocument/2006/relationships/image" Target="../media/image2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2.xml"/><Relationship Id="rId6" Type="http://schemas.openxmlformats.org/officeDocument/2006/relationships/image" Target="../media/image2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3.xml"/><Relationship Id="rId6" Type="http://schemas.openxmlformats.org/officeDocument/2006/relationships/image" Target="../media/image3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4.xml"/><Relationship Id="rId6" Type="http://schemas.openxmlformats.org/officeDocument/2006/relationships/image" Target="../media/image3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5.xml"/><Relationship Id="rId6" Type="http://schemas.openxmlformats.org/officeDocument/2006/relationships/image" Target="../media/image3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5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7.xml"/><Relationship Id="rId6" Type="http://schemas.openxmlformats.org/officeDocument/2006/relationships/image" Target="../media/image3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8.xml"/><Relationship Id="rId6" Type="http://schemas.openxmlformats.org/officeDocument/2006/relationships/image" Target="../media/image4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9.xml"/><Relationship Id="rId6" Type="http://schemas.openxmlformats.org/officeDocument/2006/relationships/image" Target="../media/image4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4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0.xml"/><Relationship Id="rId6" Type="http://schemas.openxmlformats.org/officeDocument/2006/relationships/image" Target="../media/image5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1.xml"/><Relationship Id="rId6" Type="http://schemas.openxmlformats.org/officeDocument/2006/relationships/image" Target="../media/image5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31.bin"/><Relationship Id="rId9" Type="http://schemas.openxmlformats.org/officeDocument/2006/relationships/image" Target="../media/image58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56.png"/><Relationship Id="rId5" Type="http://schemas.openxmlformats.org/officeDocument/2006/relationships/image" Target="../media/image59.emf"/><Relationship Id="rId4" Type="http://schemas.openxmlformats.org/officeDocument/2006/relationships/oleObject" Target="../embeddings/oleObject32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Relationship Id="rId4" Type="http://schemas.openxmlformats.org/officeDocument/2006/relationships/image" Target="../media/image6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Relationship Id="rId4" Type="http://schemas.openxmlformats.org/officeDocument/2006/relationships/image" Target="../media/image6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7D8ABE-A3BC-83EB-5C4C-C868F2AA5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65548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7D8ABE-A3BC-83EB-5C4C-C868F2AA5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D2B21706-2308-437D-B014-4A1FDD95973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75" b="11875"/>
          <a:stretch>
            <a:fillRect/>
          </a:stretch>
        </p:blipFill>
        <p:spPr/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C35CABD-7827-4475-9080-86A80D344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F67DDAB-A029-4F51-840C-C39A868CC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711" y="2854634"/>
            <a:ext cx="11198578" cy="2176686"/>
          </a:xfrm>
        </p:spPr>
        <p:txBody>
          <a:bodyPr vert="horz"/>
          <a:lstStyle/>
          <a:p>
            <a:r>
              <a:rPr lang="de-DE" sz="4400" err="1">
                <a:effectLst/>
                <a:ea typeface="Calibri"/>
                <a:cs typeface="Times New Roman"/>
              </a:rPr>
              <a:t>Investigating</a:t>
            </a:r>
            <a:r>
              <a:rPr lang="de-DE" sz="4400">
                <a:effectLst/>
                <a:ea typeface="Calibri"/>
                <a:cs typeface="Times New Roman"/>
              </a:rPr>
              <a:t> </a:t>
            </a:r>
            <a:r>
              <a:rPr lang="de-DE" sz="4400" err="1">
                <a:effectLst/>
                <a:ea typeface="Calibri"/>
                <a:cs typeface="Times New Roman"/>
              </a:rPr>
              <a:t>the</a:t>
            </a:r>
            <a:r>
              <a:rPr lang="de-DE" sz="4400">
                <a:effectLst/>
                <a:ea typeface="Calibri"/>
                <a:cs typeface="Times New Roman"/>
              </a:rPr>
              <a:t> </a:t>
            </a:r>
            <a:r>
              <a:rPr lang="de-DE" sz="4400" err="1">
                <a:effectLst/>
                <a:ea typeface="Calibri"/>
                <a:cs typeface="Times New Roman"/>
              </a:rPr>
              <a:t>Implications</a:t>
            </a:r>
            <a:r>
              <a:rPr lang="de-DE" sz="4400">
                <a:effectLst/>
                <a:ea typeface="Calibri"/>
                <a:cs typeface="Times New Roman"/>
              </a:rPr>
              <a:t> </a:t>
            </a:r>
            <a:r>
              <a:rPr lang="de-DE" sz="4400" err="1">
                <a:effectLst/>
                <a:ea typeface="Calibri"/>
                <a:cs typeface="Times New Roman"/>
              </a:rPr>
              <a:t>of</a:t>
            </a:r>
            <a:r>
              <a:rPr lang="de-DE" sz="4400">
                <a:effectLst/>
                <a:ea typeface="Calibri"/>
                <a:cs typeface="Times New Roman"/>
              </a:rPr>
              <a:t> </a:t>
            </a:r>
            <a:br>
              <a:rPr lang="de-DE" sz="44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4400">
                <a:effectLst/>
                <a:ea typeface="Calibri"/>
                <a:cs typeface="Times New Roman"/>
              </a:rPr>
              <a:t>Metaverse </a:t>
            </a:r>
            <a:r>
              <a:rPr lang="de-DE" sz="4400" err="1">
                <a:effectLst/>
                <a:ea typeface="Calibri"/>
                <a:cs typeface="Times New Roman"/>
              </a:rPr>
              <a:t>Platforms</a:t>
            </a:r>
            <a:r>
              <a:rPr lang="de-DE" sz="4400">
                <a:effectLst/>
                <a:ea typeface="Calibri"/>
                <a:cs typeface="Times New Roman"/>
              </a:rPr>
              <a:t> on Higher Education</a:t>
            </a:r>
            <a:br>
              <a:rPr lang="de-DE" sz="44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de-DE" sz="4400">
              <a:ea typeface="Calibri"/>
              <a:cs typeface="Times New Roman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013F0CCE-50E8-B30D-7570-53B915932654}"/>
              </a:ext>
            </a:extLst>
          </p:cNvPr>
          <p:cNvSpPr txBox="1">
            <a:spLocks/>
          </p:cNvSpPr>
          <p:nvPr/>
        </p:nvSpPr>
        <p:spPr>
          <a:xfrm>
            <a:off x="496711" y="5229225"/>
            <a:ext cx="3065006" cy="89043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6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800" b="0">
                <a:ea typeface="Calibri"/>
                <a:cs typeface="Times New Roman"/>
              </a:rPr>
              <a:t>Omar </a:t>
            </a:r>
            <a:r>
              <a:rPr lang="de-DE" sz="1800" b="0" err="1">
                <a:ea typeface="Calibri"/>
                <a:cs typeface="Times New Roman"/>
              </a:rPr>
              <a:t>Fourati</a:t>
            </a:r>
            <a:r>
              <a:rPr lang="de-DE" sz="1800" b="0">
                <a:ea typeface="Calibri"/>
                <a:cs typeface="Times New Roman"/>
              </a:rPr>
              <a:t>, 2249230</a:t>
            </a:r>
          </a:p>
          <a:p>
            <a:r>
              <a:rPr lang="de-DE" sz="1800" b="0">
                <a:ea typeface="Calibri"/>
                <a:cs typeface="Times New Roman"/>
              </a:rPr>
              <a:t>Hanna Jobst, 23225014</a:t>
            </a:r>
          </a:p>
          <a:p>
            <a:r>
              <a:rPr lang="de-DE" sz="1800" b="0">
                <a:ea typeface="Calibri"/>
                <a:cs typeface="Times New Roman"/>
              </a:rPr>
              <a:t>Magnus Schneider, 22436866</a:t>
            </a:r>
          </a:p>
        </p:txBody>
      </p:sp>
    </p:spTree>
    <p:extLst>
      <p:ext uri="{BB962C8B-B14F-4D97-AF65-F5344CB8AC3E}">
        <p14:creationId xmlns:p14="http://schemas.microsoft.com/office/powerpoint/2010/main" val="38565796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9EF5F-3497-B740-0059-9032360244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62D4716-3519-7C7A-C48E-1C2BEFE77B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049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2D4716-3519-7C7A-C48E-1C2BEFE77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FC3DEBF-0A9C-7515-091C-3D17D46693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16164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85F00D-16D9-1841-8AA2-97790AA5B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D8D6E69-5357-9815-7DD0-7F445C675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7" y="301185"/>
            <a:ext cx="9295153" cy="332399"/>
          </a:xfrm>
        </p:spPr>
        <p:txBody>
          <a:bodyPr vert="horz"/>
          <a:lstStyle/>
          <a:p>
            <a:r>
              <a:rPr lang="de-DE" err="1"/>
              <a:t>Latest</a:t>
            </a:r>
            <a:r>
              <a:rPr lang="de-DE"/>
              <a:t> </a:t>
            </a:r>
            <a:r>
              <a:rPr lang="de-DE" err="1"/>
              <a:t>pubilcations</a:t>
            </a:r>
            <a:r>
              <a:rPr lang="de-DE"/>
              <a:t> and </a:t>
            </a:r>
            <a:r>
              <a:rPr lang="de-DE" err="1"/>
              <a:t>educational</a:t>
            </a:r>
            <a:r>
              <a:rPr lang="de-DE"/>
              <a:t> </a:t>
            </a:r>
            <a:r>
              <a:rPr lang="de-DE" err="1"/>
              <a:t>aspect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relevan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4B344B8-510F-C232-3016-0F3C68DDA7D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err="1"/>
              <a:t>Relevance</a:t>
            </a:r>
            <a:endParaRPr lang="de-DE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DED4C0C7-406E-0FB6-A5D3-57B7BCD1396D}"/>
              </a:ext>
            </a:extLst>
          </p:cNvPr>
          <p:cNvSpPr txBox="1">
            <a:spLocks/>
          </p:cNvSpPr>
          <p:nvPr/>
        </p:nvSpPr>
        <p:spPr>
          <a:xfrm>
            <a:off x="1677604" y="4490986"/>
            <a:ext cx="1923301" cy="42373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algn="ctr">
              <a:buNone/>
            </a:pPr>
            <a:endParaRPr lang="de-DE" sz="180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843BEF8-A43E-683B-A338-EAEA51AEE03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07884" y="3161811"/>
            <a:ext cx="1102420" cy="1102420"/>
          </a:xfrm>
          <a:prstGeom prst="rect">
            <a:avLst/>
          </a:prstGeom>
        </p:spPr>
      </p:pic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77D33805-3332-D297-A52B-679EA3C342DA}"/>
              </a:ext>
            </a:extLst>
          </p:cNvPr>
          <p:cNvSpPr txBox="1">
            <a:spLocks/>
          </p:cNvSpPr>
          <p:nvPr/>
        </p:nvSpPr>
        <p:spPr>
          <a:xfrm>
            <a:off x="7135318" y="2653256"/>
            <a:ext cx="4540745" cy="254832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Arial" panose="020B0604020202020204" pitchFamily="34" charset="0"/>
              </a:rPr>
              <a:t>C</a:t>
            </a:r>
            <a:r>
              <a:rPr lang="en-US" sz="18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ntext of education facilities</a:t>
            </a: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Arial" panose="020B0604020202020204" pitchFamily="34" charset="0"/>
              </a:rPr>
              <a:t>R</a:t>
            </a:r>
            <a:r>
              <a:rPr lang="en-US" sz="18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cent publications to capture the latest insights </a:t>
            </a: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8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clusion of pedagogical models </a:t>
            </a:r>
          </a:p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000000"/>
                </a:solidFill>
                <a:latin typeface="Arial" panose="020B0604020202020204" pitchFamily="34" charset="0"/>
              </a:rPr>
              <a:t>Theoretical &amp; practical insights</a:t>
            </a:r>
            <a:endParaRPr lang="en-US" sz="18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indent="0">
              <a:buFont typeface="Symbol" panose="05050102010706020507" pitchFamily="18" charset="2"/>
              <a:buNone/>
            </a:pPr>
            <a:endParaRPr lang="de-DE"/>
          </a:p>
        </p:txBody>
      </p:sp>
      <p:sp>
        <p:nvSpPr>
          <p:cNvPr id="39" name="Rectangle 11">
            <a:extLst>
              <a:ext uri="{FF2B5EF4-FFF2-40B4-BE49-F238E27FC236}">
                <a16:creationId xmlns:a16="http://schemas.microsoft.com/office/drawing/2014/main" id="{522E3B18-031D-F9A0-0B1D-87FE29739599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Term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ectangle 12">
            <a:extLst>
              <a:ext uri="{FF2B5EF4-FFF2-40B4-BE49-F238E27FC236}">
                <a16:creationId xmlns:a16="http://schemas.microsoft.com/office/drawing/2014/main" id="{4E2A3E52-8E9F-B735-E814-606D6907741F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brari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13">
            <a:extLst>
              <a:ext uri="{FF2B5EF4-FFF2-40B4-BE49-F238E27FC236}">
                <a16:creationId xmlns:a16="http://schemas.microsoft.com/office/drawing/2014/main" id="{66959738-5A83-FCEF-E17A-3ACD77109848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Search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query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&amp;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Relevance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Rectangle 14">
            <a:extLst>
              <a:ext uri="{FF2B5EF4-FFF2-40B4-BE49-F238E27FC236}">
                <a16:creationId xmlns:a16="http://schemas.microsoft.com/office/drawing/2014/main" id="{C1CF3416-A89C-51BB-61D6-8ECBD61E8642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traction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Datumsplatzhalter 1">
            <a:extLst>
              <a:ext uri="{FF2B5EF4-FFF2-40B4-BE49-F238E27FC236}">
                <a16:creationId xmlns:a16="http://schemas.microsoft.com/office/drawing/2014/main" id="{D2E63B2C-C2F2-48EB-EB9E-CF2F52A3D172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5291405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19D88DA-FAC1-5A1B-A05E-F0809232C0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12693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9D88DA-FAC1-5A1B-A05E-F0809232C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F150D79-2652-85A4-36C4-FB0874C5F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032C2A-BC54-FD17-897A-24EB45927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2F91D58-FAC4-ADAB-1F11-88D6E7B7C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Source </a:t>
            </a:r>
            <a:r>
              <a:rPr lang="de-DE" err="1"/>
              <a:t>with</a:t>
            </a:r>
            <a:r>
              <a:rPr lang="de-DE"/>
              <a:t> relevant </a:t>
            </a:r>
            <a:r>
              <a:rPr lang="de-DE" err="1"/>
              <a:t>knowledge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8F3A41D-DCDE-0008-645C-BAC43680A79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Knowledge </a:t>
            </a:r>
            <a:r>
              <a:rPr lang="de-DE" err="1"/>
              <a:t>Extraction</a:t>
            </a:r>
            <a:endParaRPr lang="de-DE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52BD46B1-96B1-471E-46F6-2B6C8B543479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Term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146F3A9E-7320-AB6F-07A7-AA8985092FBA}"/>
              </a:ext>
            </a:extLst>
          </p:cNvPr>
          <p:cNvSpPr/>
          <p:nvPr/>
        </p:nvSpPr>
        <p:spPr>
          <a:xfrm>
            <a:off x="518315" y="5378978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traction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3">
            <a:extLst>
              <a:ext uri="{FF2B5EF4-FFF2-40B4-BE49-F238E27FC236}">
                <a16:creationId xmlns:a16="http://schemas.microsoft.com/office/drawing/2014/main" id="{E86EFC0A-B42F-ADD9-D33D-83BB525B0CCB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Search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query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&amp;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Relevance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4">
            <a:extLst>
              <a:ext uri="{FF2B5EF4-FFF2-40B4-BE49-F238E27FC236}">
                <a16:creationId xmlns:a16="http://schemas.microsoft.com/office/drawing/2014/main" id="{3FAA2FA8-4F05-D298-FDB8-B26E846D4249}"/>
              </a:ext>
            </a:extLst>
          </p:cNvPr>
          <p:cNvSpPr/>
          <p:nvPr/>
        </p:nvSpPr>
        <p:spPr>
          <a:xfrm>
            <a:off x="518314" y="2821199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brari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3" name="Grafik 32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D9EA4B91-AD0E-3B81-40BC-883BE9104C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6824" y="1844390"/>
            <a:ext cx="4222271" cy="3693306"/>
          </a:xfrm>
          <a:prstGeom prst="rect">
            <a:avLst/>
          </a:prstGeom>
        </p:spPr>
      </p:pic>
      <p:sp>
        <p:nvSpPr>
          <p:cNvPr id="34" name="Datumsplatzhalter 1">
            <a:extLst>
              <a:ext uri="{FF2B5EF4-FFF2-40B4-BE49-F238E27FC236}">
                <a16:creationId xmlns:a16="http://schemas.microsoft.com/office/drawing/2014/main" id="{33297AB7-8F25-7BA4-5EA2-1C1C61399D6C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4207309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DB4E09-898C-19F7-095B-8EAFC2926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/>
              <a:t>Use Cas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1A833B9-27DD-4863-D984-DF7ED443C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7947A9-C9BE-FE04-BE8E-43C6A6212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3CF209C-B30D-C9D9-91EE-E0B27A5F7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91575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81F072-7913-8B9C-85A2-D1EABCDA59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BDB721F-CF17-8083-1467-63875EE752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1461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DB721F-CF17-8083-1467-63875EE75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135692-8547-B5FD-AC4E-113489E5A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A71C64-ED67-59A5-4045-69705555E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7A7615D-2CE4-09EF-591A-61E347348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332399"/>
          </a:xfrm>
        </p:spPr>
        <p:txBody>
          <a:bodyPr vert="horz"/>
          <a:lstStyle/>
          <a:p>
            <a:r>
              <a:rPr lang="de-DE">
                <a:cs typeface="Arial"/>
              </a:rPr>
              <a:t>Basic </a:t>
            </a:r>
            <a:r>
              <a:rPr lang="de-DE" err="1">
                <a:cs typeface="Arial"/>
              </a:rPr>
              <a:t>concepts</a:t>
            </a:r>
            <a:r>
              <a:rPr lang="de-DE">
                <a:cs typeface="Arial"/>
              </a:rPr>
              <a:t> understanding</a:t>
            </a:r>
            <a:endParaRPr lang="fr-FR" err="1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7A4E49FD-8D0B-0659-7ACC-BC4D47FAF2C3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9B5988A-0908-974E-AED1-8F898B02417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>
                <a:cs typeface="Arial"/>
              </a:rPr>
              <a:t>Use Cases </a:t>
            </a:r>
            <a:r>
              <a:rPr lang="de-DE" err="1">
                <a:cs typeface="Arial"/>
              </a:rPr>
              <a:t>search</a:t>
            </a:r>
            <a:endParaRPr lang="fr-FR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41999B-8DAA-85E2-6AAA-7D61BF7A7B21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teratur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review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ncept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D8678A-E83C-272B-9D72-3B63EB395FD9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relevan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word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EB721B-5509-4B92-FDBE-BA16927B7D71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Filter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riteria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3CBC10-133E-636C-902E-34F3A6F22FE5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trac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u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as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B115FA9-B755-B633-C066-AB5A872D15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88051" y="4012239"/>
            <a:ext cx="1022400" cy="10224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A5B5807-D164-B318-53B3-8173213648E0}"/>
              </a:ext>
            </a:extLst>
          </p:cNvPr>
          <p:cNvSpPr txBox="1"/>
          <p:nvPr/>
        </p:nvSpPr>
        <p:spPr>
          <a:xfrm>
            <a:off x="7362702" y="1861020"/>
            <a:ext cx="4132759" cy="12162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rehensive review: read, ask, look </a:t>
            </a:r>
            <a:r>
              <a:rPr lang="en-US" sz="1600">
                <a:solidFill>
                  <a:prstClr val="black"/>
                </a:solidFill>
                <a:latin typeface="Arial"/>
              </a:rPr>
              <a:t>up fo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formation..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lore academic journals, papers, companies' websites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8EC3D03-3F67-B2C5-3AD2-223E7A990A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88051" y="1922534"/>
            <a:ext cx="1020890" cy="102089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0035ADF-966D-4881-DDF2-8D70A8359CA4}"/>
              </a:ext>
            </a:extLst>
          </p:cNvPr>
          <p:cNvSpPr txBox="1"/>
          <p:nvPr/>
        </p:nvSpPr>
        <p:spPr>
          <a:xfrm>
            <a:off x="7450976" y="4084768"/>
            <a:ext cx="4132759" cy="12162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>
                <a:solidFill>
                  <a:prstClr val="black"/>
                </a:solidFill>
                <a:latin typeface="Arial"/>
              </a:rPr>
              <a:t>D</a:t>
            </a:r>
            <a:r>
              <a:rPr lang="en-US" sz="1600" err="1">
                <a:solidFill>
                  <a:prstClr val="black"/>
                </a:solidFill>
                <a:latin typeface="Arial"/>
              </a:rPr>
              <a:t>eep</a:t>
            </a:r>
            <a:r>
              <a:rPr lang="en-US" sz="1600">
                <a:solidFill>
                  <a:prstClr val="black"/>
                </a:solidFill>
                <a:latin typeface="Arial"/>
              </a:rPr>
              <a:t> understanding of key concepts for optimal search   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en-US" sz="1600">
                <a:solidFill>
                  <a:prstClr val="black"/>
                </a:solidFill>
                <a:latin typeface="Arial"/>
                <a:sym typeface="Wingdings" pitchFamily="2" charset="2"/>
              </a:rPr>
              <a:t> </a:t>
            </a:r>
            <a:r>
              <a:rPr kumimoji="0" lang="en-US" sz="16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cases are an application of all these</a:t>
            </a:r>
            <a:r>
              <a:rPr lang="en-US" sz="1600" u="sng">
                <a:solidFill>
                  <a:prstClr val="black"/>
                </a:solidFill>
                <a:latin typeface="Arial"/>
              </a:rPr>
              <a:t> </a:t>
            </a:r>
            <a:r>
              <a:rPr kumimoji="0" lang="en-US" sz="16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epts</a:t>
            </a:r>
            <a:endParaRPr lang="en-US" sz="16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Datumsplatzhalter 1">
            <a:extLst>
              <a:ext uri="{FF2B5EF4-FFF2-40B4-BE49-F238E27FC236}">
                <a16:creationId xmlns:a16="http://schemas.microsoft.com/office/drawing/2014/main" id="{82897D7F-E832-9179-36A4-880850C31229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1219115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9EBB0-CBB2-56B3-171A-1893D48558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605366B-9B1F-C928-04F3-BDEC657821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5997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05366B-9B1F-C928-04F3-BDEC657821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8DAB4AB-1560-9605-0767-AC0745E18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BBDDE7-C31A-7D11-7FC9-625F23F19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8CFF62C-1EE1-7D77-AD00-FE746E295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664797"/>
          </a:xfrm>
        </p:spPr>
        <p:txBody>
          <a:bodyPr vert="horz"/>
          <a:lstStyle/>
          <a:p>
            <a:r>
              <a:rPr lang="de-DE"/>
              <a:t>Search and </a:t>
            </a:r>
            <a:r>
              <a:rPr lang="de-DE" err="1"/>
              <a:t>filter</a:t>
            </a:r>
            <a:r>
              <a:rPr lang="de-DE"/>
              <a:t> </a:t>
            </a:r>
            <a:r>
              <a:rPr lang="de-DE" err="1"/>
              <a:t>keywords</a:t>
            </a:r>
            <a:r>
              <a:rPr lang="de-DE"/>
              <a:t> </a:t>
            </a:r>
            <a:endParaRPr lang="fr-FR"/>
          </a:p>
          <a:p>
            <a:endParaRPr lang="de-DE">
              <a:cs typeface="Arial"/>
            </a:endParaRP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C806F96-705D-A76A-11C1-6F9B201AF087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9971FA6-EFE4-C695-6E1E-060E4E43F91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674544"/>
          </a:xfrm>
        </p:spPr>
        <p:txBody>
          <a:bodyPr/>
          <a:lstStyle/>
          <a:p>
            <a:r>
              <a:rPr lang="de-DE"/>
              <a:t>Use Cases </a:t>
            </a:r>
            <a:r>
              <a:rPr lang="de-DE" err="1"/>
              <a:t>search</a:t>
            </a:r>
            <a:endParaRPr lang="de-DE" err="1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B2A72E-CC58-052B-B293-FD2B03298626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teratur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review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ncept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E7F769C-7E30-5489-24E9-8B99AE129C54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relevan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word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CE1D5DC-8BB2-BB2F-5935-7724C2BBC265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Filter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riteria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F7E02F4-BC4B-5A30-0F90-D94EEC5505DB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trac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u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as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87C9AD-3626-3F15-7F2D-A70CCD323B07}"/>
              </a:ext>
            </a:extLst>
          </p:cNvPr>
          <p:cNvSpPr txBox="1"/>
          <p:nvPr/>
        </p:nvSpPr>
        <p:spPr>
          <a:xfrm>
            <a:off x="6190394" y="3835026"/>
            <a:ext cx="4132759" cy="16409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which keywords are relevant for the search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Script to look for keywords in found papers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lpful to automate the search </a:t>
            </a:r>
            <a:r>
              <a:rPr lang="en-US" sz="1600">
                <a:solidFill>
                  <a:prstClr val="black"/>
                </a:solidFill>
                <a:latin typeface="Arial"/>
              </a:rPr>
              <a:t>on found websites/paper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5C454DD-A122-AE7F-3344-0C54303134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46577" y="2408633"/>
            <a:ext cx="1022400" cy="1022400"/>
          </a:xfrm>
          <a:prstGeom prst="rect">
            <a:avLst/>
          </a:prstGeom>
        </p:spPr>
      </p:pic>
      <p:sp>
        <p:nvSpPr>
          <p:cNvPr id="19" name="Datumsplatzhalter 1">
            <a:extLst>
              <a:ext uri="{FF2B5EF4-FFF2-40B4-BE49-F238E27FC236}">
                <a16:creationId xmlns:a16="http://schemas.microsoft.com/office/drawing/2014/main" id="{23D97947-FE05-F3F6-8324-DCDC07CA3406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42367772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6EE1C6-097E-6DBD-E171-42CD126C32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3BBA694-D78B-A8D5-0389-BDC92E8FB9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9489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BA694-D78B-A8D5-0389-BDC92E8FB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EAF450-870A-1C1D-819A-32A362B75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31362C5-C472-2CA9-5B43-E0ECB43A9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6662A2-6D31-8D1B-465C-7C76C9A12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997196"/>
          </a:xfrm>
        </p:spPr>
        <p:txBody>
          <a:bodyPr vert="horz"/>
          <a:lstStyle/>
          <a:p>
            <a:r>
              <a:rPr lang="de-DE"/>
              <a:t>Search and </a:t>
            </a:r>
            <a:r>
              <a:rPr lang="de-DE" err="1"/>
              <a:t>filter</a:t>
            </a:r>
            <a:r>
              <a:rPr lang="de-DE"/>
              <a:t> </a:t>
            </a:r>
            <a:r>
              <a:rPr lang="de-DE" err="1"/>
              <a:t>keywords</a:t>
            </a:r>
            <a:r>
              <a:rPr lang="de-DE"/>
              <a:t> </a:t>
            </a:r>
            <a:endParaRPr lang="de-DE" b="0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  <a:p>
            <a:endParaRPr lang="de-DE">
              <a:cs typeface="Arial"/>
            </a:endParaRP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EE9991E-A6F9-E37F-2DFD-0060FF65390F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C3874D4-A4D3-3593-F784-035CEBEFAB1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674544"/>
          </a:xfrm>
        </p:spPr>
        <p:txBody>
          <a:bodyPr/>
          <a:lstStyle/>
          <a:p>
            <a:r>
              <a:rPr lang="de-DE"/>
              <a:t>Use Cases </a:t>
            </a:r>
            <a:r>
              <a:rPr lang="de-DE" err="1"/>
              <a:t>search</a:t>
            </a:r>
            <a:endParaRPr lang="de-DE" err="1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49BDDB-0BA2-D795-01BD-3D39D2D05E33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teratur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review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ncept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7B9B9A-258E-0B63-D6F1-9F6307972AE9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relevan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word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E2960C-8BF0-9761-CF82-9AB4A1D955AB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Filter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riteria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20C075-2EDA-226D-5F05-883A7F2F72F7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trac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u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as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47012D1-6022-68B2-6059-B1D3C0D766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71593" y="1833853"/>
            <a:ext cx="3473610" cy="99245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C11D1C2-B3B3-DD5B-93A0-CC94589693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71593" y="3044717"/>
            <a:ext cx="3871407" cy="3041819"/>
          </a:xfrm>
          <a:prstGeom prst="rect">
            <a:avLst/>
          </a:prstGeom>
        </p:spPr>
      </p:pic>
      <p:sp>
        <p:nvSpPr>
          <p:cNvPr id="7" name="Datumsplatzhalter 1">
            <a:extLst>
              <a:ext uri="{FF2B5EF4-FFF2-40B4-BE49-F238E27FC236}">
                <a16:creationId xmlns:a16="http://schemas.microsoft.com/office/drawing/2014/main" id="{20592CCE-BF5C-A7E7-F897-F665488070A5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168182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D962BF-E1B6-1CA8-3EAA-5633FB46F9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AF63954-02EE-64D8-366B-449428AC98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6159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F63954-02EE-64D8-366B-449428AC98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12B0E5-1A75-FF59-EDA3-18ED9A3847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74523F-8050-3B13-97DB-FD8EEE490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BABE590-5298-BFBE-18D8-3DC5D0D42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997196"/>
          </a:xfrm>
        </p:spPr>
        <p:txBody>
          <a:bodyPr vert="horz"/>
          <a:lstStyle/>
          <a:p>
            <a:r>
              <a:rPr lang="de-DE"/>
              <a:t>Search and </a:t>
            </a:r>
            <a:r>
              <a:rPr lang="de-DE" err="1"/>
              <a:t>filter</a:t>
            </a:r>
            <a:r>
              <a:rPr lang="de-DE"/>
              <a:t> </a:t>
            </a:r>
            <a:r>
              <a:rPr lang="de-DE" err="1"/>
              <a:t>keywords</a:t>
            </a:r>
            <a:r>
              <a:rPr lang="de-DE"/>
              <a:t> </a:t>
            </a:r>
            <a:endParaRPr lang="de-DE" b="0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  <a:p>
            <a:endParaRPr lang="de-DE">
              <a:cs typeface="Arial"/>
            </a:endParaRP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89E74F0-4A8F-5AAB-3908-9AA6DA887F3F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263F27F-C0BA-A482-CE73-67322463FF2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674544"/>
          </a:xfrm>
        </p:spPr>
        <p:txBody>
          <a:bodyPr/>
          <a:lstStyle/>
          <a:p>
            <a:r>
              <a:rPr lang="de-DE"/>
              <a:t>Use Cases </a:t>
            </a:r>
            <a:r>
              <a:rPr lang="de-DE" err="1"/>
              <a:t>search</a:t>
            </a:r>
            <a:endParaRPr lang="de-DE" err="1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6EA2FF-AAB0-EDE3-600F-ADA349E590C8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teratur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review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ncept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DACC3D-7669-D5AE-8380-21695A17338B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relevan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word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C0D171-06BE-E5AE-1DD8-2D9BA845311E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Filter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riteria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1E5EB1-C8F7-068C-948A-333A346ACDAB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trac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u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as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577927-6A20-8760-6501-F09C9A62E2B5}"/>
              </a:ext>
            </a:extLst>
          </p:cNvPr>
          <p:cNvSpPr txBox="1"/>
          <p:nvPr/>
        </p:nvSpPr>
        <p:spPr>
          <a:xfrm>
            <a:off x="6232884" y="3060001"/>
            <a:ext cx="5249215" cy="26443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stigate further the sources found for final filter criteria: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Is use case/example clear ?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Can the use case/example be documented ?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Tested or used actively with feedback behind it?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Is the pedagogical approach recognizable ?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Able to map it into the created clusters ?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69FDF93-F704-EA6C-B1BE-CD9D8A2AEE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54956" y="1733775"/>
            <a:ext cx="1022400" cy="1022400"/>
          </a:xfrm>
          <a:prstGeom prst="rect">
            <a:avLst/>
          </a:prstGeom>
        </p:spPr>
      </p:pic>
      <p:sp>
        <p:nvSpPr>
          <p:cNvPr id="10" name="Datumsplatzhalter 1">
            <a:extLst>
              <a:ext uri="{FF2B5EF4-FFF2-40B4-BE49-F238E27FC236}">
                <a16:creationId xmlns:a16="http://schemas.microsoft.com/office/drawing/2014/main" id="{90B89B07-46BA-A480-5193-C7969515CF30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8870092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B3CEE-3565-6095-9052-2E5D7C537D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C86FBBA-A3F0-9054-886B-6C2CFB5AB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0935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86FBBA-A3F0-9054-886B-6C2CFB5AB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6D96093-60AD-5732-5CA9-A66D86809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E0D3BA-4705-9CE0-C753-58D21E3CB2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9A8F6D0-9641-05E5-1DEB-DA4C00FA0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664797"/>
          </a:xfrm>
        </p:spPr>
        <p:txBody>
          <a:bodyPr vert="horz"/>
          <a:lstStyle/>
          <a:p>
            <a:r>
              <a:rPr lang="de-DE"/>
              <a:t>Extract Use Cases </a:t>
            </a:r>
            <a:r>
              <a:rPr lang="de-DE" err="1"/>
              <a:t>from</a:t>
            </a:r>
            <a:r>
              <a:rPr lang="de-DE"/>
              <a:t> </a:t>
            </a:r>
            <a:r>
              <a:rPr lang="de-DE" err="1"/>
              <a:t>literature</a:t>
            </a:r>
            <a:endParaRPr lang="de-DE" b="0" err="1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77EB2ACF-9309-3D20-3717-F66CB5653D57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05F841D-7454-AF98-A962-AEAC5A27631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674544"/>
          </a:xfrm>
        </p:spPr>
        <p:txBody>
          <a:bodyPr/>
          <a:lstStyle/>
          <a:p>
            <a:r>
              <a:rPr lang="de-DE"/>
              <a:t>Use Cases </a:t>
            </a:r>
            <a:r>
              <a:rPr lang="de-DE" err="1"/>
              <a:t>search</a:t>
            </a:r>
            <a:endParaRPr lang="de-DE" err="1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F1FE709-4444-0235-7EE9-08F43FD43882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teratur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review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ncept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A67185-D56F-B157-B275-38AFEC895C08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relevan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eyword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E08C8D-F5E7-8AD4-B9C9-F58C244902DB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Filter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riteria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D75A5A-D7C5-D6AA-ED13-938185996565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Document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extracted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use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cas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9A6FAC-C678-B2C8-1AB9-D356C5CA9D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66156" y="2319460"/>
            <a:ext cx="1022400" cy="1022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29C333-0AE6-168C-D8C2-B95FF24B4C28}"/>
              </a:ext>
            </a:extLst>
          </p:cNvPr>
          <p:cNvSpPr txBox="1"/>
          <p:nvPr/>
        </p:nvSpPr>
        <p:spPr>
          <a:xfrm>
            <a:off x="6892748" y="3672313"/>
            <a:ext cx="5249215" cy="2320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act use cases with source information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Create a list of all the paper and use cases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1600">
              <a:solidFill>
                <a:prstClr val="black"/>
              </a:solidFill>
              <a:latin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endParaRPr lang="en-US" sz="1600">
              <a:solidFill>
                <a:prstClr val="black"/>
              </a:solidFill>
              <a:latin typeface="Arial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16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6" name="Datumsplatzhalter 1">
            <a:extLst>
              <a:ext uri="{FF2B5EF4-FFF2-40B4-BE49-F238E27FC236}">
                <a16:creationId xmlns:a16="http://schemas.microsoft.com/office/drawing/2014/main" id="{E04635AB-5A26-C744-A380-CD691121561B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9320721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1A211D-42F1-F559-0E61-73DD0EA573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EBA51DC-BBB7-B180-4912-3FBBDD2F0D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BA51DC-BBB7-B180-4912-3FBBDD2F0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F30137-B3AD-46AA-4197-03005EDA0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F417EC-1376-A20A-5220-1234D22CA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14F8CF3-CDBD-899B-1FA5-2142224D4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332399"/>
          </a:xfrm>
        </p:spPr>
        <p:txBody>
          <a:bodyPr vert="horz"/>
          <a:lstStyle/>
          <a:p>
            <a:r>
              <a:rPr lang="de-DE" err="1">
                <a:cs typeface="Arial"/>
              </a:rPr>
              <a:t>Categorize</a:t>
            </a:r>
            <a:r>
              <a:rPr lang="de-DE">
                <a:cs typeface="Arial"/>
              </a:rPr>
              <a:t> Use Cases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FB3190D-68D3-1E1A-AFEA-059D21B4C71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9EE7C30-3AAA-5D29-7E69-95328CD970B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674544"/>
          </a:xfrm>
        </p:spPr>
        <p:txBody>
          <a:bodyPr/>
          <a:lstStyle/>
          <a:p>
            <a:r>
              <a:rPr lang="de-DE"/>
              <a:t>Use Cases </a:t>
            </a:r>
            <a:r>
              <a:rPr lang="de-DE" err="1"/>
              <a:t>search</a:t>
            </a:r>
            <a:endParaRPr lang="de-DE" err="1">
              <a:solidFill>
                <a:srgbClr val="000000"/>
              </a:solidFill>
              <a:cs typeface="Arial"/>
            </a:endParaRPr>
          </a:p>
          <a:p>
            <a:endParaRPr lang="de-DE"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D0ACEB-2A0F-8ACB-15F9-FEEE111A3E0A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Pedagogical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a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pproach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3A9342-5DFF-4F29-7A2D-A9315F923055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Map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u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ase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earning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tartegie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B636EB-AD38-264A-1C78-3AC87675D7C3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Defin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analy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rend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FFA3FD0-DE13-E925-FBEA-B08B524826CF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Conclude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about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challenges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&amp;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solution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1622D7-B651-D5C9-6B0B-68161795BB00}"/>
              </a:ext>
            </a:extLst>
          </p:cNvPr>
          <p:cNvSpPr txBox="1"/>
          <p:nvPr/>
        </p:nvSpPr>
        <p:spPr>
          <a:xfrm>
            <a:off x="6180466" y="3913423"/>
            <a:ext cx="5249215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>
                <a:solidFill>
                  <a:prstClr val="black"/>
                </a:solidFill>
                <a:latin typeface="Arial"/>
              </a:rPr>
              <a:t>Extract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th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pedagogical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goal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and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approache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f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th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developped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solution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</a:p>
          <a:p>
            <a:pPr marL="285750" marR="0" indent="-285750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16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F5CAA7E-2842-FAF5-579B-0B138246BE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54956" y="2436806"/>
            <a:ext cx="1022400" cy="1022400"/>
          </a:xfrm>
          <a:prstGeom prst="rect">
            <a:avLst/>
          </a:prstGeom>
        </p:spPr>
      </p:pic>
      <p:sp>
        <p:nvSpPr>
          <p:cNvPr id="5" name="Datumsplatzhalter 1">
            <a:extLst>
              <a:ext uri="{FF2B5EF4-FFF2-40B4-BE49-F238E27FC236}">
                <a16:creationId xmlns:a16="http://schemas.microsoft.com/office/drawing/2014/main" id="{AB0EC2B0-5361-500C-B775-1802433773CF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1842840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C30E00-0DC6-C305-6900-71327DFF35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C06A527-208C-DEA0-4725-2626F4F607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6961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06A527-208C-DEA0-4725-2626F4F607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47B2F7B-4CCB-3006-8FB3-032E52B453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40A816-83E3-1629-8573-936914550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2867D57-6405-293C-38B7-FE7FF2D78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664797"/>
          </a:xfrm>
        </p:spPr>
        <p:txBody>
          <a:bodyPr vert="horz"/>
          <a:lstStyle/>
          <a:p>
            <a:r>
              <a:rPr lang="de-DE" err="1"/>
              <a:t>Define</a:t>
            </a:r>
            <a:r>
              <a:rPr lang="de-DE"/>
              <a:t> </a:t>
            </a:r>
            <a:r>
              <a:rPr lang="de-DE" err="1"/>
              <a:t>the</a:t>
            </a:r>
            <a:r>
              <a:rPr lang="de-DE"/>
              <a:t> </a:t>
            </a:r>
            <a:r>
              <a:rPr lang="de-DE" err="1"/>
              <a:t>learning</a:t>
            </a:r>
            <a:r>
              <a:rPr lang="de-DE"/>
              <a:t> </a:t>
            </a:r>
            <a:r>
              <a:rPr lang="de-DE" err="1"/>
              <a:t>strategies</a:t>
            </a:r>
            <a:endParaRPr lang="fr-FR" err="1"/>
          </a:p>
          <a:p>
            <a:endParaRPr lang="de-DE">
              <a:cs typeface="Arial"/>
            </a:endParaRP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2B8F86E-6BD0-4D94-B41D-9F7728E3C79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E8824C7-6089-3740-60EC-CDC0665E3E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674544"/>
          </a:xfrm>
        </p:spPr>
        <p:txBody>
          <a:bodyPr/>
          <a:lstStyle/>
          <a:p>
            <a:r>
              <a:rPr lang="de-DE"/>
              <a:t>Use Cases </a:t>
            </a:r>
            <a:r>
              <a:rPr lang="de-DE" err="1"/>
              <a:t>search</a:t>
            </a:r>
            <a:endParaRPr lang="de-DE" err="1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D45416-6147-EF55-945B-12340AD90F06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Pedagogical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a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pproach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AFF3A09-0D09-DFE1-F435-262D32E6B494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Map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u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ase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earning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tartegie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55B63E-D52D-BF66-9A10-312189FC1420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Defin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analy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rend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0649A1-7718-2CFC-13E4-C9CFD7383D95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Conclude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about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challenges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&amp;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solution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72F3AD-ADB5-8573-B292-8785C3B8CE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51648" y="2111882"/>
            <a:ext cx="1022400" cy="1022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E0D5B29-072A-643C-1B3B-B8B2CED4D3E4}"/>
              </a:ext>
            </a:extLst>
          </p:cNvPr>
          <p:cNvSpPr txBox="1"/>
          <p:nvPr/>
        </p:nvSpPr>
        <p:spPr>
          <a:xfrm>
            <a:off x="6232884" y="3401470"/>
            <a:ext cx="5249215" cy="328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which approach belongs to which learning strategy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Example: a platform for learning with others =&gt; collaborative learning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1600">
              <a:solidFill>
                <a:prstClr val="black"/>
              </a:solidFill>
              <a:latin typeface="Arial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endParaRPr lang="en-US" sz="1600">
              <a:solidFill>
                <a:prstClr val="black"/>
              </a:solidFill>
              <a:latin typeface="Arial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16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6" name="Datumsplatzhalter 1">
            <a:extLst>
              <a:ext uri="{FF2B5EF4-FFF2-40B4-BE49-F238E27FC236}">
                <a16:creationId xmlns:a16="http://schemas.microsoft.com/office/drawing/2014/main" id="{75D91D1B-AAEF-0A2E-BBC0-F25752B6F2DB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3219458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9CA0DCBE-0763-4B3B-D266-1645CD2936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6925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A0DCBE-0763-4B3B-D266-1645CD2936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5067132-CBF4-CF9B-947A-954A37974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482164-6343-6A26-6C8D-56C3CDC70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B41795F-E715-6613-5BAE-EB8F5F2DC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Study Desig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F7CD29C-5B06-9200-7B7D-90C59C7763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02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AC55FFE-0CB9-0867-33E0-8F17F2A81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Limitati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7C575C0-A9A1-349C-7FE5-4195104CF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0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7DF9F15-632E-F0D1-1D78-4D2F68AF26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err="1"/>
              <a:t>Methodology</a:t>
            </a:r>
            <a:r>
              <a:rPr lang="de-DE"/>
              <a:t> / Individual </a:t>
            </a:r>
            <a:r>
              <a:rPr lang="de-DE" err="1"/>
              <a:t>Contributions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1793DA7-96EC-D77E-EBA9-69BE1EAFC11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0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AFF0FCA-7B33-D270-7D50-65A0D582829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err="1"/>
              <a:t>Results</a:t>
            </a:r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0F1CCA9-CD9C-5D8F-3644-A2BA8B8D98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/>
              <a:t>0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E075241-018C-8922-A59E-6365BAE3A47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/>
              <a:t>Reflexio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CD8A074-D9E0-9AE0-642F-A4FC96AADD3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06</a:t>
            </a:r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BFC7BAF2-C79A-3C43-048A-5F68993AF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earning in </a:t>
            </a:r>
            <a:r>
              <a:rPr lang="de-DE" err="1"/>
              <a:t>the</a:t>
            </a:r>
            <a:r>
              <a:rPr lang="de-DE"/>
              <a:t> Metaverse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9C30AC94-5B61-681D-588E-7074643DFF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Agenda 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005BC0A4-6FFC-904A-0B73-A27FBA6CB9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Motivation	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FA2F375-8361-B7C9-306E-52BFC3CE98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01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5A0A1BDD-2182-5FA2-FEC0-C07941B8207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4" name="Datumsplatzhalter 1">
            <a:extLst>
              <a:ext uri="{FF2B5EF4-FFF2-40B4-BE49-F238E27FC236}">
                <a16:creationId xmlns:a16="http://schemas.microsoft.com/office/drawing/2014/main" id="{C101514C-DE67-0716-BE2A-DF6BEB932139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1952489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95DAA2-DD41-0B01-7E5C-047F07FFB2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66183B1-B3C6-4839-80D8-050CC084A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4830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6183B1-B3C6-4839-80D8-050CC084A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CBBF9-60FE-4A34-27DC-C48279C46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D61FF8-DC0D-BB22-7569-DF3C6C4C2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68E2D5E-3FF7-A5E1-0944-21651DE55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664797"/>
          </a:xfrm>
        </p:spPr>
        <p:txBody>
          <a:bodyPr vert="horz"/>
          <a:lstStyle/>
          <a:p>
            <a:r>
              <a:rPr lang="de-DE" err="1">
                <a:cs typeface="Arial"/>
              </a:rPr>
              <a:t>Define</a:t>
            </a:r>
            <a:r>
              <a:rPr lang="de-DE">
                <a:cs typeface="Arial"/>
              </a:rPr>
              <a:t> and </a:t>
            </a:r>
            <a:r>
              <a:rPr lang="de-DE" err="1">
                <a:cs typeface="Arial"/>
              </a:rPr>
              <a:t>document</a:t>
            </a:r>
            <a:r>
              <a:rPr lang="de-DE">
                <a:cs typeface="Arial"/>
              </a:rPr>
              <a:t> </a:t>
            </a:r>
            <a:r>
              <a:rPr lang="de-DE" err="1">
                <a:cs typeface="Arial"/>
              </a:rPr>
              <a:t>the</a:t>
            </a:r>
            <a:r>
              <a:rPr lang="de-DE">
                <a:cs typeface="Arial"/>
              </a:rPr>
              <a:t> </a:t>
            </a:r>
            <a:r>
              <a:rPr lang="de-DE" err="1">
                <a:cs typeface="Arial"/>
              </a:rPr>
              <a:t>trends</a:t>
            </a:r>
          </a:p>
          <a:p>
            <a:endParaRPr lang="de-DE">
              <a:cs typeface="Arial"/>
            </a:endParaRP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FBCEBFBD-C0C5-C4CE-4F99-6A5BABBAA612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C2B6475-9DD4-93A1-98A0-BBFCED3BB31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674544"/>
          </a:xfrm>
        </p:spPr>
        <p:txBody>
          <a:bodyPr/>
          <a:lstStyle/>
          <a:p>
            <a:r>
              <a:rPr lang="de-DE"/>
              <a:t>Use Cases </a:t>
            </a:r>
            <a:r>
              <a:rPr lang="de-DE" err="1"/>
              <a:t>search</a:t>
            </a:r>
            <a:endParaRPr lang="de-DE" err="1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66FA6E-BB81-3245-4EA4-F5A49CA8A996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Pedagogical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a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pproach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1DD53C-591F-213C-8A51-DBF388D17BAC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Map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u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ase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earning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tartegie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775FB60-1175-2091-E9A4-2EA88462FD1E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Defin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analy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rend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CB995B-8D49-DB27-DBD0-9CCAC84D84B9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Conclude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about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challenges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&amp;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solution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23F2AE-7578-F14F-4B9C-91D767D11F03}"/>
              </a:ext>
            </a:extLst>
          </p:cNvPr>
          <p:cNvSpPr txBox="1"/>
          <p:nvPr/>
        </p:nvSpPr>
        <p:spPr>
          <a:xfrm>
            <a:off x="6637890" y="3625719"/>
            <a:ext cx="524921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>
                <a:solidFill>
                  <a:prstClr val="black"/>
                </a:solidFill>
                <a:latin typeface="Arial"/>
              </a:rPr>
              <a:t>Combine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result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f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each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found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learning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strategy</a:t>
            </a:r>
            <a:endParaRPr lang="de-DE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 err="1">
                <a:solidFill>
                  <a:prstClr val="black"/>
                </a:solidFill>
                <a:latin typeface="Arial"/>
              </a:rPr>
              <a:t>Conclud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on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ccurency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f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each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endParaRPr lang="en-US" sz="16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EBEC0D-258F-0E95-F5A7-C73ADB34AE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46084" y="2230518"/>
            <a:ext cx="1001763" cy="1001763"/>
          </a:xfrm>
          <a:prstGeom prst="rect">
            <a:avLst/>
          </a:prstGeom>
        </p:spPr>
      </p:pic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7BCF4010-AE1C-FF7B-FF0E-80E751137EE0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2467742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F6B650-7C67-FE84-5D16-6882F747C1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EE459C3-1D5B-2851-DD49-02122342D2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7978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E459C3-1D5B-2851-DD49-02122342D2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A08B053-6AA1-2A04-DA59-6BA3EF2A4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97DBA1-0734-B122-7D46-8F901C2C6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6F26F9A-FC81-B7A0-9CDC-3FA00BA02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997196"/>
          </a:xfrm>
        </p:spPr>
        <p:txBody>
          <a:bodyPr vert="horz"/>
          <a:lstStyle/>
          <a:p>
            <a:r>
              <a:rPr lang="de-DE" err="1"/>
              <a:t>Define</a:t>
            </a:r>
            <a:r>
              <a:rPr lang="de-DE"/>
              <a:t> and </a:t>
            </a:r>
            <a:r>
              <a:rPr lang="de-DE" err="1"/>
              <a:t>document</a:t>
            </a:r>
            <a:r>
              <a:rPr lang="de-DE"/>
              <a:t> </a:t>
            </a:r>
            <a:r>
              <a:rPr lang="de-DE" err="1"/>
              <a:t>the</a:t>
            </a:r>
            <a:r>
              <a:rPr lang="de-DE"/>
              <a:t> </a:t>
            </a:r>
            <a:r>
              <a:rPr lang="de-DE" err="1"/>
              <a:t>trends</a:t>
            </a:r>
            <a:endParaRPr lang="de-DE" b="0" err="1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  <a:p>
            <a:endParaRPr lang="de-DE">
              <a:cs typeface="Arial"/>
            </a:endParaRP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2486136-9334-A39F-6867-CDA7B28A6F55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6B30D6-CF6E-5AC5-D58B-F7F8F9D976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674544"/>
          </a:xfrm>
        </p:spPr>
        <p:txBody>
          <a:bodyPr/>
          <a:lstStyle/>
          <a:p>
            <a:r>
              <a:rPr lang="de-DE"/>
              <a:t>Use Cases </a:t>
            </a:r>
            <a:r>
              <a:rPr lang="de-DE" err="1"/>
              <a:t>search</a:t>
            </a:r>
            <a:endParaRPr lang="de-DE" err="1">
              <a:solidFill>
                <a:srgbClr val="000000"/>
              </a:solidFill>
            </a:endParaRPr>
          </a:p>
          <a:p>
            <a:endParaRPr lang="de-DE"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B580C5-384D-CD47-A221-70E54157CDD6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Pedagogical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a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pproach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1185AB1-FC60-8084-C303-F1E3E512894A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>
              <a:lnSpc>
                <a:spcPct val="110000"/>
              </a:lnSpc>
              <a:spcAft>
                <a:spcPts val="1200"/>
              </a:spcAft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Map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u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ase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earning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tartegie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B48954-414D-C085-23E3-315A506177E3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Defin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analys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rend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979A0E0-F20A-4E29-4100-BA29CFD19390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Conclude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about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challenges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&amp;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solution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9E668E-366A-6540-6E3C-A5056C92B7F5}"/>
              </a:ext>
            </a:extLst>
          </p:cNvPr>
          <p:cNvSpPr txBox="1"/>
          <p:nvPr/>
        </p:nvSpPr>
        <p:spPr>
          <a:xfrm>
            <a:off x="6718022" y="3678137"/>
            <a:ext cx="5249215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>
                <a:solidFill>
                  <a:prstClr val="black"/>
                </a:solidFill>
                <a:latin typeface="Arial"/>
              </a:rPr>
              <a:t>Summary and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documentation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f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all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solution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</a:p>
          <a:p>
            <a:pPr marL="285750" marR="0" indent="-285750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 err="1">
                <a:solidFill>
                  <a:prstClr val="black"/>
                </a:solidFill>
                <a:latin typeface="Arial"/>
              </a:rPr>
              <a:t>Defin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challenge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, positive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aspect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…</a:t>
            </a:r>
            <a:endParaRPr lang="de-DE" sz="1600">
              <a:solidFill>
                <a:prstClr val="black"/>
              </a:solidFill>
              <a:latin typeface="Arial"/>
              <a:cs typeface="Arial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>
                <a:solidFill>
                  <a:prstClr val="black"/>
                </a:solidFill>
                <a:latin typeface="Arial"/>
              </a:rPr>
              <a:t>=&gt; </a:t>
            </a:r>
            <a:r>
              <a:rPr lang="de-DE" sz="1600" u="sng">
                <a:solidFill>
                  <a:prstClr val="black"/>
                </a:solidFill>
                <a:latin typeface="Arial"/>
              </a:rPr>
              <a:t>Combine </a:t>
            </a:r>
            <a:r>
              <a:rPr lang="de-DE" sz="1600" u="sng" err="1">
                <a:solidFill>
                  <a:prstClr val="black"/>
                </a:solidFill>
                <a:latin typeface="Arial"/>
              </a:rPr>
              <a:t>knowledge</a:t>
            </a:r>
            <a:r>
              <a:rPr lang="de-DE" sz="1600" u="sng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u="sng" err="1">
                <a:solidFill>
                  <a:prstClr val="black"/>
                </a:solidFill>
                <a:latin typeface="Arial"/>
              </a:rPr>
              <a:t>aquired</a:t>
            </a:r>
            <a:r>
              <a:rPr lang="de-DE" sz="1600" u="sng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u="sng" err="1">
                <a:solidFill>
                  <a:prstClr val="black"/>
                </a:solidFill>
                <a:latin typeface="Arial"/>
              </a:rPr>
              <a:t>with</a:t>
            </a:r>
            <a:r>
              <a:rPr lang="de-DE" sz="1600" u="sng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u="sng" err="1">
                <a:solidFill>
                  <a:prstClr val="black"/>
                </a:solidFill>
                <a:latin typeface="Arial"/>
              </a:rPr>
              <a:t>literature</a:t>
            </a:r>
            <a:r>
              <a:rPr lang="de-DE" sz="1600" u="sng">
                <a:solidFill>
                  <a:prstClr val="black"/>
                </a:solidFill>
                <a:latin typeface="Arial"/>
              </a:rPr>
              <a:t> and expert interview </a:t>
            </a:r>
            <a:endParaRPr lang="en-US" sz="1600" u="sng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AB9200A-64D1-A8D2-8E5A-1D58C0B688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94955" y="2406600"/>
            <a:ext cx="1022400" cy="1022400"/>
          </a:xfrm>
          <a:prstGeom prst="rect">
            <a:avLst/>
          </a:prstGeom>
        </p:spPr>
      </p:pic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F9A85701-0361-97B7-E3A6-0767CABF8134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464308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C3A844-F577-529C-058F-4FEB12991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/>
              <a:t>Expert Interview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B25992-84C6-DF15-CE7D-E766B54A5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FE298A-C97A-51A9-FCBF-3F86756768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32A708D-3F3F-FDF2-1810-21B0B6AC9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8753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526FF-D5DA-3221-AC49-8E9432C45A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FBBD2D0-7F15-E595-06E2-95B71819AB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BBD2D0-7F15-E595-06E2-95B71819AB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154427-75E6-6B4B-557B-0871AAED9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241541-A559-FF18-87EF-11F81A4D1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FD5BF10-2804-1E84-7A0F-EC62D56233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332399"/>
          </a:xfrm>
        </p:spPr>
        <p:txBody>
          <a:bodyPr vert="horz"/>
          <a:lstStyle/>
          <a:p>
            <a:r>
              <a:rPr lang="de-DE" err="1"/>
              <a:t>Defin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goal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interview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0CA6B3C-86A4-A2AC-96BB-2E46C884A71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94BA471-6E8D-766E-69FD-31B45257DC8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Expert Interview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B8FA3B-1C66-E13F-BE71-77E277380AFA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Define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research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objectiv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6E9BC7-DB72-A455-655B-06DC7D81532A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lect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prepar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pert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44CDDEF-711E-27D4-91C1-EABCA35229F2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nduc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interview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DBCF9F5-5B1D-4AC7-1A5D-B044DE93DBB2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i="0">
                <a:effectLst/>
                <a:latin typeface="Söhne"/>
              </a:rPr>
              <a:t>Analyze and </a:t>
            </a:r>
            <a:r>
              <a:rPr lang="de-DE" sz="1600" err="1">
                <a:latin typeface="Söhne"/>
              </a:rPr>
              <a:t>d</a:t>
            </a:r>
            <a:r>
              <a:rPr lang="de-DE" sz="1600" i="0" err="1">
                <a:effectLst/>
                <a:latin typeface="Söhne"/>
              </a:rPr>
              <a:t>ocument</a:t>
            </a:r>
            <a:r>
              <a:rPr lang="de-DE" sz="1600" i="0">
                <a:effectLst/>
                <a:latin typeface="Söhne"/>
              </a:rPr>
              <a:t> </a:t>
            </a:r>
            <a:r>
              <a:rPr lang="de-DE" sz="1600" i="0" err="1">
                <a:effectLst/>
                <a:latin typeface="Söhne"/>
              </a:rPr>
              <a:t>finding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Picture 17">
            <a:extLst>
              <a:ext uri="{FF2B5EF4-FFF2-40B4-BE49-F238E27FC236}">
                <a16:creationId xmlns:a16="http://schemas.microsoft.com/office/drawing/2014/main" id="{F989FF5A-8DEA-7ADC-6D38-B34BC849B2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88051" y="4012239"/>
            <a:ext cx="1022400" cy="1022400"/>
          </a:xfrm>
          <a:prstGeom prst="rect">
            <a:avLst/>
          </a:prstGeom>
        </p:spPr>
      </p:pic>
      <p:sp>
        <p:nvSpPr>
          <p:cNvPr id="22" name="TextBox 18">
            <a:extLst>
              <a:ext uri="{FF2B5EF4-FFF2-40B4-BE49-F238E27FC236}">
                <a16:creationId xmlns:a16="http://schemas.microsoft.com/office/drawing/2014/main" id="{077BD1F8-8193-2677-B27F-90BD791E01D9}"/>
              </a:ext>
            </a:extLst>
          </p:cNvPr>
          <p:cNvSpPr txBox="1"/>
          <p:nvPr/>
        </p:nvSpPr>
        <p:spPr>
          <a:xfrm>
            <a:off x="7362702" y="1861020"/>
            <a:ext cx="4132759" cy="1216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Conduct literature review to understand current state of knowledg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y gaps or areas where expert insights are crucial.</a:t>
            </a:r>
          </a:p>
        </p:txBody>
      </p:sp>
      <p:pic>
        <p:nvPicPr>
          <p:cNvPr id="23" name="Picture 20">
            <a:extLst>
              <a:ext uri="{FF2B5EF4-FFF2-40B4-BE49-F238E27FC236}">
                <a16:creationId xmlns:a16="http://schemas.microsoft.com/office/drawing/2014/main" id="{840121DE-60BD-C563-CB8D-088B1F38B8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9566" y="1922534"/>
            <a:ext cx="1017860" cy="1020890"/>
          </a:xfrm>
          <a:prstGeom prst="rect">
            <a:avLst/>
          </a:prstGeom>
        </p:spPr>
      </p:pic>
      <p:sp>
        <p:nvSpPr>
          <p:cNvPr id="24" name="TextBox 21">
            <a:extLst>
              <a:ext uri="{FF2B5EF4-FFF2-40B4-BE49-F238E27FC236}">
                <a16:creationId xmlns:a16="http://schemas.microsoft.com/office/drawing/2014/main" id="{A47C3943-4563-E766-40C4-D838242542D8}"/>
              </a:ext>
            </a:extLst>
          </p:cNvPr>
          <p:cNvSpPr txBox="1"/>
          <p:nvPr/>
        </p:nvSpPr>
        <p:spPr>
          <a:xfrm>
            <a:off x="7450976" y="4084768"/>
            <a:ext cx="4132759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>
                <a:solidFill>
                  <a:prstClr val="black"/>
                </a:solidFill>
                <a:latin typeface="Arial"/>
              </a:rPr>
              <a:t>Create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topic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/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bjective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for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interviews</a:t>
            </a:r>
            <a:endParaRPr lang="de-DE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 err="1">
                <a:solidFill>
                  <a:prstClr val="black"/>
                </a:solidFill>
                <a:latin typeface="Arial"/>
              </a:rPr>
              <a:t>Decid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ver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interview type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 err="1">
                <a:solidFill>
                  <a:prstClr val="black"/>
                </a:solidFill>
                <a:latin typeface="Arial"/>
              </a:rPr>
              <a:t>Develop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detailed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questions</a:t>
            </a:r>
            <a:endParaRPr lang="en-US" sz="16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" name="Datumsplatzhalter 1">
            <a:extLst>
              <a:ext uri="{FF2B5EF4-FFF2-40B4-BE49-F238E27FC236}">
                <a16:creationId xmlns:a16="http://schemas.microsoft.com/office/drawing/2014/main" id="{E170EE4F-ECEE-95D8-CF86-A0DD00F86E7A}"/>
              </a:ext>
            </a:extLst>
          </p:cNvPr>
          <p:cNvSpPr txBox="1">
            <a:spLocks/>
          </p:cNvSpPr>
          <p:nvPr/>
        </p:nvSpPr>
        <p:spPr>
          <a:xfrm>
            <a:off x="10692030" y="6192184"/>
            <a:ext cx="83997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Gioia et.. al., 2012</a:t>
            </a:r>
          </a:p>
        </p:txBody>
      </p:sp>
      <p:sp>
        <p:nvSpPr>
          <p:cNvPr id="5" name="Datumsplatzhalter 1">
            <a:extLst>
              <a:ext uri="{FF2B5EF4-FFF2-40B4-BE49-F238E27FC236}">
                <a16:creationId xmlns:a16="http://schemas.microsoft.com/office/drawing/2014/main" id="{329B2964-8994-6B1A-A17F-715819B4D8BE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14593229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F19BA4-C0D4-FFAB-8E1A-8311A5DC92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09959D9-3ACC-36E7-516B-9010C0D2EB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9959D9-3ACC-36E7-516B-9010C0D2E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FD3EC4F-2D0E-004A-922C-9574B6537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AF83DB0-AC9E-B55D-78A8-92A9929416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4E3E05C-6499-F571-83F1-B1C58C500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332399"/>
          </a:xfrm>
        </p:spPr>
        <p:txBody>
          <a:bodyPr vert="horz"/>
          <a:lstStyle/>
          <a:p>
            <a:r>
              <a:rPr lang="de-DE" err="1"/>
              <a:t>Prepar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interview	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106B2CF-4C50-7FCA-BA7F-11F2BE75D293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0D76935-D78F-58E6-0E34-13D96F03E8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Expert Interview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80D0A9-E2A2-010F-47CB-8CCFECA28BA0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Define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Research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Objectiv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9561FA0-E4B7-04B9-D51D-F83413EF8D7A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lect and 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p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repar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pert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9E5757-1B2E-1204-DE09-980CD5455E91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nduc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interview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3DAFCF8-7505-143C-8DDE-B882C905962A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i="0">
                <a:effectLst/>
                <a:latin typeface="Söhne"/>
              </a:rPr>
              <a:t>Analyze and </a:t>
            </a:r>
            <a:r>
              <a:rPr lang="de-DE" sz="1600" err="1">
                <a:latin typeface="Söhne"/>
              </a:rPr>
              <a:t>d</a:t>
            </a:r>
            <a:r>
              <a:rPr lang="de-DE" sz="1600" i="0" err="1">
                <a:effectLst/>
                <a:latin typeface="Söhne"/>
              </a:rPr>
              <a:t>ocument</a:t>
            </a:r>
            <a:r>
              <a:rPr lang="de-DE" sz="1600" i="0">
                <a:effectLst/>
                <a:latin typeface="Söhne"/>
              </a:rPr>
              <a:t> </a:t>
            </a:r>
            <a:r>
              <a:rPr lang="de-DE" sz="1600" i="0" err="1">
                <a:effectLst/>
                <a:latin typeface="Söhne"/>
              </a:rPr>
              <a:t>finding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17">
            <a:extLst>
              <a:ext uri="{FF2B5EF4-FFF2-40B4-BE49-F238E27FC236}">
                <a16:creationId xmlns:a16="http://schemas.microsoft.com/office/drawing/2014/main" id="{B998FE27-A959-ED3B-5116-9DA2BA6191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8051" y="4012239"/>
            <a:ext cx="1022400" cy="1022400"/>
          </a:xfrm>
          <a:prstGeom prst="rect">
            <a:avLst/>
          </a:prstGeom>
        </p:spPr>
      </p:pic>
      <p:sp>
        <p:nvSpPr>
          <p:cNvPr id="7" name="TextBox 18">
            <a:extLst>
              <a:ext uri="{FF2B5EF4-FFF2-40B4-BE49-F238E27FC236}">
                <a16:creationId xmlns:a16="http://schemas.microsoft.com/office/drawing/2014/main" id="{9EA44344-E00A-B167-37C1-CFBB959D9CB3}"/>
              </a:ext>
            </a:extLst>
          </p:cNvPr>
          <p:cNvSpPr txBox="1"/>
          <p:nvPr/>
        </p:nvSpPr>
        <p:spPr>
          <a:xfrm>
            <a:off x="7362702" y="1861020"/>
            <a:ext cx="4132759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Decide on expert groups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y relevant </a:t>
            </a:r>
            <a:r>
              <a:rPr lang="en-US" sz="1600">
                <a:solidFill>
                  <a:prstClr val="black"/>
                </a:solidFill>
                <a:latin typeface="Arial"/>
              </a:rPr>
              <a:t>expert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20">
            <a:extLst>
              <a:ext uri="{FF2B5EF4-FFF2-40B4-BE49-F238E27FC236}">
                <a16:creationId xmlns:a16="http://schemas.microsoft.com/office/drawing/2014/main" id="{17DE9405-0172-5E16-F51B-239480576F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9566" y="1924049"/>
            <a:ext cx="1017860" cy="1017860"/>
          </a:xfrm>
          <a:prstGeom prst="rect">
            <a:avLst/>
          </a:prstGeom>
        </p:spPr>
      </p:pic>
      <p:sp>
        <p:nvSpPr>
          <p:cNvPr id="16" name="TextBox 21">
            <a:extLst>
              <a:ext uri="{FF2B5EF4-FFF2-40B4-BE49-F238E27FC236}">
                <a16:creationId xmlns:a16="http://schemas.microsoft.com/office/drawing/2014/main" id="{DED1E4E5-1C13-EF97-9908-AA2D3C6244AA}"/>
              </a:ext>
            </a:extLst>
          </p:cNvPr>
          <p:cNvSpPr txBox="1"/>
          <p:nvPr/>
        </p:nvSpPr>
        <p:spPr>
          <a:xfrm>
            <a:off x="7450976" y="4107346"/>
            <a:ext cx="4132759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>
                <a:solidFill>
                  <a:prstClr val="black"/>
                </a:solidFill>
                <a:latin typeface="Arial"/>
              </a:rPr>
              <a:t>Contact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expert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via different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communication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channels</a:t>
            </a:r>
            <a:endParaRPr lang="de-DE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 err="1">
                <a:solidFill>
                  <a:prstClr val="black"/>
                </a:solidFill>
                <a:latin typeface="Arial"/>
              </a:rPr>
              <a:t>Pr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-Interview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communication</a:t>
            </a:r>
            <a:endParaRPr lang="en-US" sz="16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5F19C484-23F5-17CA-4C1E-5305E4613E68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9180211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C6E56A-3967-CDAD-4CED-976868B13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44DCA53-1F8E-D897-7936-7930AD482A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4DCA53-1F8E-D897-7936-7930AD482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046E72-6BC7-4DCC-7A3E-578D31670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2A30A9-2F72-9F51-2EB6-15DC82DE3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D475544-F8E7-8DD8-F38F-82467808EF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332399"/>
          </a:xfrm>
        </p:spPr>
        <p:txBody>
          <a:bodyPr vert="horz"/>
          <a:lstStyle/>
          <a:p>
            <a:r>
              <a:rPr lang="de-DE"/>
              <a:t>Conduct </a:t>
            </a:r>
            <a:r>
              <a:rPr lang="de-DE" err="1"/>
              <a:t>the</a:t>
            </a:r>
            <a:r>
              <a:rPr lang="de-DE"/>
              <a:t> interview	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472A00D-0232-FEDF-53D9-154F151328E5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A6A2559-2103-5790-4CD5-CA6B5584264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Expert Interview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2934032-425B-8B3D-A884-84FFCA908A37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Define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research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objectiv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C3C2A9-9EB0-2A1B-C26B-89DD0EA066ED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lect and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prepar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e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xpert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14A5DC7-329C-ED9C-02FE-B513BD386907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nduc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interview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52DE7A9-9056-C5F4-E31A-3DE7CF5A85A5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i="0">
                <a:effectLst/>
                <a:latin typeface="Söhne"/>
              </a:rPr>
              <a:t>Analyze and </a:t>
            </a:r>
            <a:r>
              <a:rPr lang="de-DE" sz="1600" err="1">
                <a:latin typeface="Söhne"/>
              </a:rPr>
              <a:t>d</a:t>
            </a:r>
            <a:r>
              <a:rPr lang="de-DE" sz="1600" i="0" err="1">
                <a:effectLst/>
                <a:latin typeface="Söhne"/>
              </a:rPr>
              <a:t>ocument</a:t>
            </a:r>
            <a:r>
              <a:rPr lang="de-DE" sz="1600" i="0">
                <a:effectLst/>
                <a:latin typeface="Söhne"/>
              </a:rPr>
              <a:t> </a:t>
            </a:r>
            <a:r>
              <a:rPr lang="de-DE" sz="1600" i="0" err="1">
                <a:effectLst/>
                <a:latin typeface="Söhne"/>
              </a:rPr>
              <a:t>finding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7">
            <a:extLst>
              <a:ext uri="{FF2B5EF4-FFF2-40B4-BE49-F238E27FC236}">
                <a16:creationId xmlns:a16="http://schemas.microsoft.com/office/drawing/2014/main" id="{2A8E2CBC-2C6D-E90E-B1DD-14DE20461E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3511" y="3429000"/>
            <a:ext cx="1022400" cy="1022400"/>
          </a:xfrm>
          <a:prstGeom prst="rect">
            <a:avLst/>
          </a:prstGeom>
        </p:spPr>
      </p:pic>
      <p:sp>
        <p:nvSpPr>
          <p:cNvPr id="18" name="TextBox 18">
            <a:extLst>
              <a:ext uri="{FF2B5EF4-FFF2-40B4-BE49-F238E27FC236}">
                <a16:creationId xmlns:a16="http://schemas.microsoft.com/office/drawing/2014/main" id="{67FF3A8E-5E1A-8B48-2E9B-7A33E8F78735}"/>
              </a:ext>
            </a:extLst>
          </p:cNvPr>
          <p:cNvSpPr txBox="1"/>
          <p:nvPr/>
        </p:nvSpPr>
        <p:spPr>
          <a:xfrm>
            <a:off x="7361187" y="1759182"/>
            <a:ext cx="4132759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Clearly state the interview purpose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t </a:t>
            </a:r>
            <a:r>
              <a:rPr lang="en-US" sz="1600">
                <a:solidFill>
                  <a:prstClr val="black"/>
                </a:solidFill>
                <a:latin typeface="Arial"/>
              </a:rPr>
              <a:t>interviewee approval to collect data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9" name="Picture 20">
            <a:extLst>
              <a:ext uri="{FF2B5EF4-FFF2-40B4-BE49-F238E27FC236}">
                <a16:creationId xmlns:a16="http://schemas.microsoft.com/office/drawing/2014/main" id="{8E58E611-5B24-2123-0AE3-5E1CED5AED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8051" y="1822211"/>
            <a:ext cx="1017860" cy="1017860"/>
          </a:xfrm>
          <a:prstGeom prst="rect">
            <a:avLst/>
          </a:prstGeom>
        </p:spPr>
      </p:pic>
      <p:sp>
        <p:nvSpPr>
          <p:cNvPr id="20" name="TextBox 21">
            <a:extLst>
              <a:ext uri="{FF2B5EF4-FFF2-40B4-BE49-F238E27FC236}">
                <a16:creationId xmlns:a16="http://schemas.microsoft.com/office/drawing/2014/main" id="{D90E22C2-F1A2-DDE6-532D-E77EB253B6AF}"/>
              </a:ext>
            </a:extLst>
          </p:cNvPr>
          <p:cNvSpPr txBox="1"/>
          <p:nvPr/>
        </p:nvSpPr>
        <p:spPr>
          <a:xfrm>
            <a:off x="7446436" y="3501529"/>
            <a:ext cx="4132759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>
                <a:solidFill>
                  <a:prstClr val="black"/>
                </a:solidFill>
                <a:latin typeface="Arial"/>
              </a:rPr>
              <a:t>Follow a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logical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and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structured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sequenc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f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questions</a:t>
            </a:r>
            <a:endParaRPr lang="de-DE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>
                <a:solidFill>
                  <a:prstClr val="black"/>
                </a:solidFill>
                <a:latin typeface="Arial"/>
              </a:rPr>
              <a:t>Balance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th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length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f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answers</a:t>
            </a:r>
            <a:endParaRPr lang="en-US" sz="16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1" name="Picture 17">
            <a:extLst>
              <a:ext uri="{FF2B5EF4-FFF2-40B4-BE49-F238E27FC236}">
                <a16:creationId xmlns:a16="http://schemas.microsoft.com/office/drawing/2014/main" id="{1F31DFFB-A026-C304-9A8B-ACCA4BF440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3511" y="4977517"/>
            <a:ext cx="1022400" cy="10224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19793554-477E-AE94-7543-09770AFCBD63}"/>
              </a:ext>
            </a:extLst>
          </p:cNvPr>
          <p:cNvSpPr txBox="1"/>
          <p:nvPr/>
        </p:nvSpPr>
        <p:spPr>
          <a:xfrm>
            <a:off x="7446436" y="5050046"/>
            <a:ext cx="4132759" cy="674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 err="1">
                <a:solidFill>
                  <a:prstClr val="black"/>
                </a:solidFill>
                <a:latin typeface="Arial"/>
              </a:rPr>
              <a:t>Transcrib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th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conversation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if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required</a:t>
            </a:r>
            <a:endParaRPr lang="de-DE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 err="1">
                <a:solidFill>
                  <a:prstClr val="black"/>
                </a:solidFill>
                <a:latin typeface="Arial"/>
              </a:rPr>
              <a:t>Collect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data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at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one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location</a:t>
            </a:r>
            <a:endParaRPr lang="de-DE" sz="160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Datumsplatzhalter 1">
            <a:extLst>
              <a:ext uri="{FF2B5EF4-FFF2-40B4-BE49-F238E27FC236}">
                <a16:creationId xmlns:a16="http://schemas.microsoft.com/office/drawing/2014/main" id="{5753C4AE-289F-1D47-A6AF-BA8F3427F80D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5267079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E67B5E-39FF-37E4-E860-016112BB2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0AC9D8B-6D76-0E4B-61F0-C30BECB270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AC9D8B-6D76-0E4B-61F0-C30BECB270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8C7166-77C4-B836-D85F-17FD6B24A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EE9113-5858-A994-7A6C-0576F1C53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EF04E36-F190-8650-A3BE-41B8475A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332399"/>
          </a:xfrm>
        </p:spPr>
        <p:txBody>
          <a:bodyPr vert="horz"/>
          <a:lstStyle/>
          <a:p>
            <a:r>
              <a:rPr lang="de-DE"/>
              <a:t>Analyze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llected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	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A4E6E35-2D73-F838-8D53-5066C047866B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8BE19DE-41F8-B653-44B9-553C8560713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Expert Interview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D1C4BC1-073B-C08F-1CD5-2F39C334C1F7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Define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research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objectiv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26EF0E-CD0A-6250-3F21-7A8C5E4A1DB4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lect and 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p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repare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perts</a:t>
            </a: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AF3309-1E73-032A-F9E9-B56064D94A59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nduct </a:t>
            </a: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interview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1ACE6E-1907-A53F-AA0F-013A6D8BDA91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i="0">
                <a:effectLst/>
                <a:latin typeface="Söhne"/>
              </a:rPr>
              <a:t>Analyze and </a:t>
            </a:r>
            <a:r>
              <a:rPr lang="de-DE" sz="1600" err="1">
                <a:latin typeface="Söhne"/>
              </a:rPr>
              <a:t>d</a:t>
            </a:r>
            <a:r>
              <a:rPr lang="de-DE" sz="1600" i="0" err="1">
                <a:effectLst/>
                <a:latin typeface="Söhne"/>
              </a:rPr>
              <a:t>ocument</a:t>
            </a:r>
            <a:r>
              <a:rPr lang="de-DE" sz="1600" i="0">
                <a:effectLst/>
                <a:latin typeface="Söhne"/>
              </a:rPr>
              <a:t> </a:t>
            </a:r>
            <a:r>
              <a:rPr lang="de-DE" sz="1600" i="0" err="1">
                <a:effectLst/>
                <a:latin typeface="Söhne"/>
              </a:rPr>
              <a:t>finding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17">
            <a:extLst>
              <a:ext uri="{FF2B5EF4-FFF2-40B4-BE49-F238E27FC236}">
                <a16:creationId xmlns:a16="http://schemas.microsoft.com/office/drawing/2014/main" id="{ACDE6514-42E1-97EB-AB4A-F96005586B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3511" y="3429000"/>
            <a:ext cx="1022400" cy="1022400"/>
          </a:xfrm>
          <a:prstGeom prst="rect">
            <a:avLst/>
          </a:prstGeom>
        </p:spPr>
      </p:pic>
      <p:sp>
        <p:nvSpPr>
          <p:cNvPr id="7" name="TextBox 18">
            <a:extLst>
              <a:ext uri="{FF2B5EF4-FFF2-40B4-BE49-F238E27FC236}">
                <a16:creationId xmlns:a16="http://schemas.microsoft.com/office/drawing/2014/main" id="{F460E819-90E4-3A3B-61E6-F12AA83ACDDF}"/>
              </a:ext>
            </a:extLst>
          </p:cNvPr>
          <p:cNvSpPr txBox="1"/>
          <p:nvPr/>
        </p:nvSpPr>
        <p:spPr>
          <a:xfrm>
            <a:off x="7361187" y="1759182"/>
            <a:ext cx="4132759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Code and classify the answers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y themes</a:t>
            </a:r>
            <a:r>
              <a:rPr lang="en-US" sz="1600">
                <a:solidFill>
                  <a:prstClr val="black"/>
                </a:solidFill>
                <a:latin typeface="Arial"/>
              </a:rPr>
              <a:t> and patterns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Cluster found themes into group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20">
            <a:extLst>
              <a:ext uri="{FF2B5EF4-FFF2-40B4-BE49-F238E27FC236}">
                <a16:creationId xmlns:a16="http://schemas.microsoft.com/office/drawing/2014/main" id="{7F0A9E1E-08D7-B50D-1144-076EAD4572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8051" y="1822211"/>
            <a:ext cx="1017860" cy="1017860"/>
          </a:xfrm>
          <a:prstGeom prst="rect">
            <a:avLst/>
          </a:prstGeom>
        </p:spPr>
      </p:pic>
      <p:sp>
        <p:nvSpPr>
          <p:cNvPr id="16" name="TextBox 21">
            <a:extLst>
              <a:ext uri="{FF2B5EF4-FFF2-40B4-BE49-F238E27FC236}">
                <a16:creationId xmlns:a16="http://schemas.microsoft.com/office/drawing/2014/main" id="{CB606896-D19D-DBE2-4C3F-3800B4808B8D}"/>
              </a:ext>
            </a:extLst>
          </p:cNvPr>
          <p:cNvSpPr txBox="1"/>
          <p:nvPr/>
        </p:nvSpPr>
        <p:spPr>
          <a:xfrm>
            <a:off x="7446436" y="3501529"/>
            <a:ext cx="4132759" cy="945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Compare the expert insights with existing literature &amp; use cases</a:t>
            </a: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>
                <a:solidFill>
                  <a:prstClr val="black"/>
                </a:solidFill>
                <a:latin typeface="Arial"/>
              </a:rPr>
              <a:t>Validate or expand knowledge</a:t>
            </a:r>
          </a:p>
        </p:txBody>
      </p:sp>
      <p:pic>
        <p:nvPicPr>
          <p:cNvPr id="17" name="Picture 17">
            <a:extLst>
              <a:ext uri="{FF2B5EF4-FFF2-40B4-BE49-F238E27FC236}">
                <a16:creationId xmlns:a16="http://schemas.microsoft.com/office/drawing/2014/main" id="{3342356A-6CEE-A8D7-7375-5740821B6E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3511" y="4977517"/>
            <a:ext cx="1022400" cy="1022400"/>
          </a:xfrm>
          <a:prstGeom prst="rect">
            <a:avLst/>
          </a:prstGeom>
        </p:spPr>
      </p:pic>
      <p:sp>
        <p:nvSpPr>
          <p:cNvPr id="18" name="TextBox 21">
            <a:extLst>
              <a:ext uri="{FF2B5EF4-FFF2-40B4-BE49-F238E27FC236}">
                <a16:creationId xmlns:a16="http://schemas.microsoft.com/office/drawing/2014/main" id="{378FB96F-6CA4-340B-76F2-0C70DC2BAA52}"/>
              </a:ext>
            </a:extLst>
          </p:cNvPr>
          <p:cNvSpPr txBox="1"/>
          <p:nvPr/>
        </p:nvSpPr>
        <p:spPr>
          <a:xfrm>
            <a:off x="7446436" y="5035555"/>
            <a:ext cx="4132759" cy="13701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>
                <a:solidFill>
                  <a:prstClr val="black"/>
                </a:solidFill>
                <a:latin typeface="Arial"/>
              </a:rPr>
              <a:t>Highlight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key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findings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&amp; </a:t>
            </a:r>
            <a:r>
              <a:rPr lang="en-US" sz="1600">
                <a:solidFill>
                  <a:prstClr val="black"/>
                </a:solidFill>
                <a:latin typeface="Arial"/>
              </a:rPr>
              <a:t>areas of consensus or contention</a:t>
            </a:r>
            <a:endParaRPr lang="de-DE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 err="1">
                <a:solidFill>
                  <a:prstClr val="black"/>
                </a:solidFill>
                <a:latin typeface="Arial"/>
              </a:rPr>
              <a:t>Collect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practical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implications</a:t>
            </a:r>
            <a:endParaRPr lang="de-DE" sz="1600">
              <a:solidFill>
                <a:prstClr val="black"/>
              </a:solidFill>
              <a:latin typeface="Arial"/>
            </a:endParaRPr>
          </a:p>
          <a:p>
            <a:pPr marL="285750" marR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600" err="1">
                <a:solidFill>
                  <a:prstClr val="black"/>
                </a:solidFill>
                <a:latin typeface="Arial"/>
              </a:rPr>
              <a:t>Document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combined</a:t>
            </a:r>
            <a:r>
              <a:rPr lang="de-DE" sz="1600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err="1">
                <a:solidFill>
                  <a:prstClr val="black"/>
                </a:solidFill>
                <a:latin typeface="Arial"/>
              </a:rPr>
              <a:t>results</a:t>
            </a:r>
            <a:endParaRPr lang="de-DE" sz="16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9" name="Datumsplatzhalter 1">
            <a:extLst>
              <a:ext uri="{FF2B5EF4-FFF2-40B4-BE49-F238E27FC236}">
                <a16:creationId xmlns:a16="http://schemas.microsoft.com/office/drawing/2014/main" id="{2C8B975A-9593-0551-ED6B-387031700A42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4477317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6115A-0915-1B29-D730-16C96DCA4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AAA191B-ECA7-59C7-4EA8-6C8D5B549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05226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AA191B-ECA7-59C7-4EA8-6C8D5B549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6884B1-6B8B-FC9E-3ED9-0ECE6CBC2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 vert="horz"/>
          <a:lstStyle/>
          <a:p>
            <a:r>
              <a:rPr lang="de-DE" err="1"/>
              <a:t>Results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B0ED5FD-195D-D21E-7A1F-B70019757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364536-FEB0-5607-39F5-A950ACB1EA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3833318-8B06-9692-654F-DD21AC94C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16514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FB6986-981E-465C-A74A-D6E0EF1042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B8A7210-83A2-8367-1C87-A8183DAAC8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6269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8A7210-83A2-8367-1C87-A8183DAAC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AA1A1D9-D446-9DEC-E5B2-285556E73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4F7481F-0C80-F062-7964-288EC1779F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1BF8D04-73BB-3CC8-B5AC-4B23C2C26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7" y="301185"/>
            <a:ext cx="7742813" cy="664797"/>
          </a:xfrm>
        </p:spPr>
        <p:txBody>
          <a:bodyPr vert="horz"/>
          <a:lstStyle/>
          <a:p>
            <a:r>
              <a:rPr lang="de-DE"/>
              <a:t>Mixed </a:t>
            </a:r>
            <a:r>
              <a:rPr lang="de-DE" err="1"/>
              <a:t>perception</a:t>
            </a:r>
            <a:r>
              <a:rPr lang="de-DE"/>
              <a:t> but promising potential</a:t>
            </a:r>
            <a:br>
              <a:rPr lang="de-DE"/>
            </a:br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06A21B-BC23-770F-75DB-56A0441A18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D4EBB1-3150-5676-B77D-2EADE397C87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err="1"/>
              <a:t>Perception</a:t>
            </a:r>
            <a:endParaRPr lang="de-DE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199F917E-2793-ED9B-0E7E-A5BC71C6BD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94115" y="1529315"/>
            <a:ext cx="1656000" cy="1656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4632267-67C3-BE63-D941-0330357DC5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1886" y="1529315"/>
            <a:ext cx="1656000" cy="1656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F4AA6072-3345-7325-B34A-3D364CEC93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88051" y="4125794"/>
            <a:ext cx="1800000" cy="1800000"/>
          </a:xfrm>
          <a:prstGeom prst="rect">
            <a:avLst/>
          </a:prstGeom>
        </p:spPr>
      </p:pic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158FB9A2-A504-0B9A-FAE6-58614FD7CB8E}"/>
              </a:ext>
            </a:extLst>
          </p:cNvPr>
          <p:cNvSpPr/>
          <p:nvPr/>
        </p:nvSpPr>
        <p:spPr>
          <a:xfrm>
            <a:off x="5599962" y="3285459"/>
            <a:ext cx="776177" cy="813457"/>
          </a:xfrm>
          <a:prstGeom prst="downArrow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7BAAF8-3248-4720-F864-CE4F1FA62CF1}"/>
              </a:ext>
            </a:extLst>
          </p:cNvPr>
          <p:cNvSpPr txBox="1"/>
          <p:nvPr/>
        </p:nvSpPr>
        <p:spPr>
          <a:xfrm>
            <a:off x="9262498" y="2094614"/>
            <a:ext cx="241356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b="1">
                <a:solidFill>
                  <a:prstClr val="black"/>
                </a:solidFill>
                <a:latin typeface="Arial"/>
              </a:rPr>
              <a:t>„</a:t>
            </a:r>
            <a:r>
              <a:rPr lang="de-DE" sz="1600" b="1" err="1">
                <a:solidFill>
                  <a:prstClr val="black"/>
                </a:solidFill>
                <a:latin typeface="Arial"/>
              </a:rPr>
              <a:t>Requires</a:t>
            </a:r>
            <a:r>
              <a:rPr lang="de-DE" sz="1600" b="1">
                <a:solidFill>
                  <a:prstClr val="black"/>
                </a:solidFill>
                <a:latin typeface="Arial"/>
              </a:rPr>
              <a:t> a </a:t>
            </a:r>
            <a:r>
              <a:rPr lang="de-DE" sz="1600" b="1" err="1">
                <a:solidFill>
                  <a:prstClr val="black"/>
                </a:solidFill>
                <a:latin typeface="Arial"/>
              </a:rPr>
              <a:t>lot</a:t>
            </a:r>
            <a:r>
              <a:rPr lang="de-DE" sz="1600" b="1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b="1" err="1">
                <a:solidFill>
                  <a:prstClr val="black"/>
                </a:solidFill>
                <a:latin typeface="Arial"/>
              </a:rPr>
              <a:t>of</a:t>
            </a:r>
            <a:r>
              <a:rPr lang="de-DE" sz="1600" b="1">
                <a:solidFill>
                  <a:prstClr val="black"/>
                </a:solidFill>
                <a:latin typeface="Arial"/>
              </a:rPr>
              <a:t> </a:t>
            </a:r>
            <a:r>
              <a:rPr lang="de-DE" sz="1600" b="1" err="1">
                <a:solidFill>
                  <a:prstClr val="black"/>
                </a:solidFill>
                <a:latin typeface="Arial"/>
              </a:rPr>
              <a:t>work</a:t>
            </a:r>
            <a:r>
              <a:rPr lang="de-DE" sz="1600" b="1">
                <a:solidFill>
                  <a:prstClr val="black"/>
                </a:solidFill>
                <a:latin typeface="Arial"/>
              </a:rPr>
              <a:t>“</a:t>
            </a: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A016A3F3-59E3-4A26-48E5-96406881229C}"/>
              </a:ext>
            </a:extLst>
          </p:cNvPr>
          <p:cNvSpPr txBox="1"/>
          <p:nvPr/>
        </p:nvSpPr>
        <p:spPr>
          <a:xfrm>
            <a:off x="964020" y="2108447"/>
            <a:ext cx="213009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b="1">
                <a:solidFill>
                  <a:prstClr val="black"/>
                </a:solidFill>
                <a:latin typeface="Arial"/>
              </a:rPr>
              <a:t>„</a:t>
            </a:r>
            <a:r>
              <a:rPr lang="de-DE" sz="1600" b="1" err="1">
                <a:solidFill>
                  <a:prstClr val="black"/>
                </a:solidFill>
                <a:latin typeface="Arial"/>
              </a:rPr>
              <a:t>Huge</a:t>
            </a:r>
            <a:r>
              <a:rPr lang="de-DE" sz="1600" b="1">
                <a:solidFill>
                  <a:prstClr val="black"/>
                </a:solidFill>
                <a:latin typeface="Arial"/>
              </a:rPr>
              <a:t> potential“</a:t>
            </a: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2C753EFD-9B2F-DD8F-821E-C6DA13EB005E}"/>
              </a:ext>
            </a:extLst>
          </p:cNvPr>
          <p:cNvSpPr txBox="1"/>
          <p:nvPr/>
        </p:nvSpPr>
        <p:spPr>
          <a:xfrm>
            <a:off x="4355910" y="5952672"/>
            <a:ext cx="348017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reaking traditional </a:t>
            </a: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undaries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sp>
        <p:nvSpPr>
          <p:cNvPr id="7" name="Datumsplatzhalter 1">
            <a:extLst>
              <a:ext uri="{FF2B5EF4-FFF2-40B4-BE49-F238E27FC236}">
                <a16:creationId xmlns:a16="http://schemas.microsoft.com/office/drawing/2014/main" id="{68DF320A-B777-081E-C9DB-68701119B04B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1552487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8F1D1-755D-E19A-F122-F68EDCF4B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1FA7C2B-1A86-D7B6-6420-D125F2EEAA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2234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FA7C2B-1A86-D7B6-6420-D125F2EEA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7D1F09-8D12-8FFF-DE25-FBF01E8CC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C694DA-2427-F9CD-4919-FE410FC88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FAA2C2A-F105-13FB-98F7-62413E4A3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10256178" cy="332399"/>
          </a:xfrm>
        </p:spPr>
        <p:txBody>
          <a:bodyPr vert="horz"/>
          <a:lstStyle/>
          <a:p>
            <a:r>
              <a:rPr lang="de-DE" err="1"/>
              <a:t>Implications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implement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Metaverse in </a:t>
            </a:r>
            <a:r>
              <a:rPr lang="de-DE" err="1"/>
              <a:t>higher</a:t>
            </a:r>
            <a:r>
              <a:rPr lang="de-DE"/>
              <a:t> </a:t>
            </a:r>
            <a:r>
              <a:rPr lang="de-DE" err="1"/>
              <a:t>education</a:t>
            </a:r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E3D905-FAEE-6723-8484-765E2296EAD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B4BF516-9E7F-157C-21B1-B213A645328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err="1"/>
              <a:t>Implications</a:t>
            </a:r>
            <a:r>
              <a:rPr lang="de-DE"/>
              <a:t>/Potentia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9D7B461-9DC6-D8C5-CE19-C471BA132F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9045" y="1771662"/>
            <a:ext cx="1800000" cy="1800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D35A697-321A-1D07-27ED-CD60744637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01447" y="1771662"/>
            <a:ext cx="1800000" cy="1800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087294E-7CB9-40BE-AC6C-739CADDAF3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01447" y="4203164"/>
            <a:ext cx="1800000" cy="1800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69A298F-43FF-87CE-3D85-3374F97AEE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69045" y="4203164"/>
            <a:ext cx="1800000" cy="180000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21E56E1F-109A-7D88-ED93-B51C2EB8A498}"/>
              </a:ext>
            </a:extLst>
          </p:cNvPr>
          <p:cNvSpPr txBox="1"/>
          <p:nvPr/>
        </p:nvSpPr>
        <p:spPr>
          <a:xfrm>
            <a:off x="505006" y="2548772"/>
            <a:ext cx="201471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vidualisation</a:t>
            </a:r>
            <a:endParaRPr lang="de-DE" sz="1600" b="1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4EFFF30-3EEB-44C8-794D-96C40DE1A08F}"/>
              </a:ext>
            </a:extLst>
          </p:cNvPr>
          <p:cNvSpPr txBox="1"/>
          <p:nvPr/>
        </p:nvSpPr>
        <p:spPr>
          <a:xfrm>
            <a:off x="8601447" y="2411555"/>
            <a:ext cx="4369118" cy="612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mersive and </a:t>
            </a: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mified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de-DE" sz="1600" b="1">
                <a:solidFill>
                  <a:prstClr val="black"/>
                </a:solidFill>
                <a:latin typeface="Arial"/>
              </a:rPr>
              <a:t>E</a:t>
            </a: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perience</a:t>
            </a: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1C03E9A-F747-969B-E343-329C6877C93A}"/>
              </a:ext>
            </a:extLst>
          </p:cNvPr>
          <p:cNvSpPr txBox="1"/>
          <p:nvPr/>
        </p:nvSpPr>
        <p:spPr>
          <a:xfrm>
            <a:off x="8601447" y="4966982"/>
            <a:ext cx="3949995" cy="342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b="1" err="1">
                <a:solidFill>
                  <a:prstClr val="black"/>
                </a:solidFill>
                <a:latin typeface="Arial"/>
              </a:rPr>
              <a:t>Collaboration</a:t>
            </a:r>
            <a:r>
              <a:rPr lang="de-DE" sz="1600" b="1">
                <a:solidFill>
                  <a:prstClr val="black"/>
                </a:solidFill>
                <a:latin typeface="Arial"/>
              </a:rPr>
              <a:t> &amp; Communicatio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7C4F9F7-A718-3EFA-E3EB-2A8540DF1E60}"/>
              </a:ext>
            </a:extLst>
          </p:cNvPr>
          <p:cNvSpPr txBox="1"/>
          <p:nvPr/>
        </p:nvSpPr>
        <p:spPr>
          <a:xfrm>
            <a:off x="518317" y="4977472"/>
            <a:ext cx="2976778" cy="342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b="1">
                <a:solidFill>
                  <a:prstClr val="black"/>
                </a:solidFill>
                <a:latin typeface="Arial"/>
              </a:rPr>
              <a:t>Unique </a:t>
            </a:r>
            <a:r>
              <a:rPr lang="de-DE" sz="1600" b="1" err="1">
                <a:solidFill>
                  <a:prstClr val="black"/>
                </a:solidFill>
                <a:latin typeface="Arial"/>
              </a:rPr>
              <a:t>Selling</a:t>
            </a:r>
            <a:r>
              <a:rPr lang="de-DE" sz="1600" b="1">
                <a:solidFill>
                  <a:prstClr val="black"/>
                </a:solidFill>
                <a:latin typeface="Arial"/>
              </a:rPr>
              <a:t> Point</a:t>
            </a:r>
          </a:p>
        </p:txBody>
      </p:sp>
      <p:sp>
        <p:nvSpPr>
          <p:cNvPr id="22" name="Datumsplatzhalter 1">
            <a:extLst>
              <a:ext uri="{FF2B5EF4-FFF2-40B4-BE49-F238E27FC236}">
                <a16:creationId xmlns:a16="http://schemas.microsoft.com/office/drawing/2014/main" id="{9E605D8E-15E4-0954-0758-83B0D42E00B2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007342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70199E-A1A5-722F-A7B1-9A7247BA4A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E46F399-3C92-3C01-518A-0B6ED842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9163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46F399-3C92-3C01-518A-0B6ED8427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178E9E8-8842-8882-4511-297000F9D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BDE54C-5A01-3A4B-2A76-22D72E6DC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72D25D9-3CC3-2DAF-FAC8-02BBC484B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664797"/>
          </a:xfrm>
        </p:spPr>
        <p:txBody>
          <a:bodyPr vert="horz"/>
          <a:lstStyle/>
          <a:p>
            <a:r>
              <a:rPr lang="de-DE" err="1"/>
              <a:t>Wh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etaverse</a:t>
            </a:r>
            <a:r>
              <a:rPr lang="de-DE"/>
              <a:t>?</a:t>
            </a:r>
            <a:br>
              <a:rPr lang="de-DE"/>
            </a:br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E5C00B1-4090-BFCB-519E-1DD4BD3D3016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C8FBB84-F183-A109-02AB-62C68BF25A7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Motivation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999A0B20-1D57-13A5-A9D4-B1C79E47E9F6}"/>
              </a:ext>
            </a:extLst>
          </p:cNvPr>
          <p:cNvSpPr txBox="1">
            <a:spLocks/>
          </p:cNvSpPr>
          <p:nvPr/>
        </p:nvSpPr>
        <p:spPr>
          <a:xfrm>
            <a:off x="8898860" y="2750950"/>
            <a:ext cx="2871185" cy="386413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>
                <a:solidFill>
                  <a:prstClr val="black"/>
                </a:solidFill>
                <a:latin typeface="Arial"/>
              </a:rPr>
              <a:t>Innovation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BAA1774D-E8DC-AC52-09E2-062CC0636B50}"/>
              </a:ext>
            </a:extLst>
          </p:cNvPr>
          <p:cNvSpPr txBox="1">
            <a:spLocks/>
          </p:cNvSpPr>
          <p:nvPr/>
        </p:nvSpPr>
        <p:spPr>
          <a:xfrm>
            <a:off x="876465" y="2750951"/>
            <a:ext cx="2871185" cy="386413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>
                <a:solidFill>
                  <a:prstClr val="black"/>
                </a:solidFill>
                <a:latin typeface="Arial"/>
              </a:rPr>
              <a:t>$120 </a:t>
            </a:r>
            <a:r>
              <a:rPr lang="de-DE" sz="1800" err="1">
                <a:solidFill>
                  <a:prstClr val="black"/>
                </a:solidFill>
                <a:latin typeface="Arial"/>
              </a:rPr>
              <a:t>billion</a:t>
            </a:r>
            <a:endParaRPr lang="de-DE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49BC4301-116E-1D56-6090-80018A9AE819}"/>
              </a:ext>
            </a:extLst>
          </p:cNvPr>
          <p:cNvSpPr txBox="1">
            <a:spLocks/>
          </p:cNvSpPr>
          <p:nvPr/>
        </p:nvSpPr>
        <p:spPr>
          <a:xfrm>
            <a:off x="4923208" y="2750951"/>
            <a:ext cx="2871185" cy="386413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>
                <a:solidFill>
                  <a:prstClr val="black"/>
                </a:solidFill>
                <a:latin typeface="Arial"/>
              </a:rPr>
              <a:t>Other </a:t>
            </a:r>
            <a:r>
              <a:rPr lang="de-DE" sz="1800" err="1">
                <a:solidFill>
                  <a:prstClr val="black"/>
                </a:solidFill>
                <a:latin typeface="Arial"/>
              </a:rPr>
              <a:t>touching</a:t>
            </a:r>
            <a:r>
              <a:rPr lang="de-DE" sz="1800">
                <a:solidFill>
                  <a:prstClr val="black"/>
                </a:solidFill>
                <a:latin typeface="Arial"/>
              </a:rPr>
              <a:t> </a:t>
            </a:r>
            <a:r>
              <a:rPr lang="de-DE" sz="1800" err="1">
                <a:solidFill>
                  <a:prstClr val="black"/>
                </a:solidFill>
                <a:latin typeface="Arial"/>
              </a:rPr>
              <a:t>points</a:t>
            </a:r>
            <a:endParaRPr lang="de-DE" sz="18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C4051F-6BDC-AA3C-A473-D5267FA5CE1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581699" y="1545544"/>
            <a:ext cx="1153139" cy="1153139"/>
          </a:xfrm>
          <a:prstGeom prst="rect">
            <a:avLst/>
          </a:prstGeom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FECAE90-04AC-6919-3DA9-2DD611F16EF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677126" y="1734585"/>
            <a:ext cx="859995" cy="859995"/>
          </a:xfrm>
          <a:prstGeom prst="rect">
            <a:avLst/>
          </a:prstGeom>
          <a:ln>
            <a:noFill/>
          </a:ln>
        </p:spPr>
      </p:pic>
      <p:pic>
        <p:nvPicPr>
          <p:cNvPr id="20" name="Picture 2" descr="Why the Metaverse could help some workers but hinder others | Technology &amp;  People | HR Grapevine | News">
            <a:extLst>
              <a:ext uri="{FF2B5EF4-FFF2-40B4-BE49-F238E27FC236}">
                <a16:creationId xmlns:a16="http://schemas.microsoft.com/office/drawing/2014/main" id="{A6C446F5-EF9C-264E-76D0-2626B97254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177" y="4008270"/>
            <a:ext cx="3390181" cy="148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164B41A-CB3E-E589-AC1C-B132AFC5F5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26793" y="3345274"/>
            <a:ext cx="2299441" cy="280919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4DD2E84-4F41-EABB-83F3-163F6B2AEF5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644372" y="1734585"/>
            <a:ext cx="965929" cy="965929"/>
          </a:xfrm>
          <a:prstGeom prst="rect">
            <a:avLst/>
          </a:prstGeom>
          <a:ln>
            <a:noFill/>
          </a:ln>
        </p:spPr>
      </p:pic>
      <p:pic>
        <p:nvPicPr>
          <p:cNvPr id="1028" name="Picture 4" descr="Top 10 Open-Source Metaverse Development Tools (2024 List)">
            <a:extLst>
              <a:ext uri="{FF2B5EF4-FFF2-40B4-BE49-F238E27FC236}">
                <a16:creationId xmlns:a16="http://schemas.microsoft.com/office/drawing/2014/main" id="{762D618A-FFD2-0792-7DEE-CFF6DA7E77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7356" y="3691442"/>
            <a:ext cx="3390260" cy="203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umsplatzhalter 1">
            <a:extLst>
              <a:ext uri="{FF2B5EF4-FFF2-40B4-BE49-F238E27FC236}">
                <a16:creationId xmlns:a16="http://schemas.microsoft.com/office/drawing/2014/main" id="{AFC098EB-F8B7-7E7A-EE54-A314DB836E30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2122025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39" grpId="0"/>
      <p:bldP spid="40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3951E1-2B61-F638-FED5-14B0F0BE01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3C4738C-CF00-CD24-5639-A0591ECBA2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C4738C-CF00-CD24-5639-A0591ECBA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8C9770-BD6C-2112-5082-91559C0AA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1AD69B-302C-B86E-A692-585B60D0C2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15B372E-FD54-F904-B65E-A199D06E4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8744180" cy="332399"/>
          </a:xfrm>
        </p:spPr>
        <p:txBody>
          <a:bodyPr vert="horz"/>
          <a:lstStyle/>
          <a:p>
            <a:r>
              <a:rPr lang="de-DE"/>
              <a:t>Risk and Problems </a:t>
            </a:r>
            <a:r>
              <a:rPr lang="de-DE" err="1"/>
              <a:t>when</a:t>
            </a:r>
            <a:r>
              <a:rPr lang="de-DE"/>
              <a:t> </a:t>
            </a:r>
            <a:r>
              <a:rPr lang="de-DE" err="1"/>
              <a:t>implementing</a:t>
            </a:r>
            <a:r>
              <a:rPr lang="de-DE"/>
              <a:t> Metaverse </a:t>
            </a:r>
            <a:r>
              <a:rPr lang="de-DE" err="1"/>
              <a:t>solutions</a:t>
            </a:r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2C4FA2A-85BC-5767-DB7D-E59573F67FD2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9A86222-1B6E-85AE-29C5-E9C95C18567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Risk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4D998FF-0E2A-8661-4655-9D8F2D6081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9045" y="1771662"/>
            <a:ext cx="1800000" cy="1800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506E963C-E877-4BE6-87A3-C8C830CE55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04487" y="1771662"/>
            <a:ext cx="1793919" cy="1800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55857AF6-E0DA-3062-F80A-47C5D13DE4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01447" y="4203164"/>
            <a:ext cx="1800000" cy="1800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215968D-28AC-4ED2-37A2-4839BB41BBB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9045" y="4203164"/>
            <a:ext cx="1800000" cy="180000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7E9AD10A-F27C-B52E-EED0-BD9F8B328342}"/>
              </a:ext>
            </a:extLst>
          </p:cNvPr>
          <p:cNvSpPr txBox="1"/>
          <p:nvPr/>
        </p:nvSpPr>
        <p:spPr>
          <a:xfrm>
            <a:off x="505006" y="2548772"/>
            <a:ext cx="22594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Management</a:t>
            </a:r>
            <a:endParaRPr lang="de-DE" sz="1600" b="1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1F6773C-9FC0-7DE5-CE57-40ECC14A10F9}"/>
              </a:ext>
            </a:extLst>
          </p:cNvPr>
          <p:cNvSpPr txBox="1"/>
          <p:nvPr/>
        </p:nvSpPr>
        <p:spPr>
          <a:xfrm>
            <a:off x="8601447" y="2411555"/>
            <a:ext cx="4066953" cy="342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hical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Psychological Impact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4C89A428-8343-9110-2EB5-369B0E2E3D52}"/>
              </a:ext>
            </a:extLst>
          </p:cNvPr>
          <p:cNvSpPr txBox="1"/>
          <p:nvPr/>
        </p:nvSpPr>
        <p:spPr>
          <a:xfrm>
            <a:off x="8601447" y="4966982"/>
            <a:ext cx="3949995" cy="342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sources</a:t>
            </a:r>
            <a:endParaRPr lang="de-DE" sz="1600" b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981578C6-10A1-B236-8643-BA609B0BDC7A}"/>
              </a:ext>
            </a:extLst>
          </p:cNvPr>
          <p:cNvSpPr txBox="1"/>
          <p:nvPr/>
        </p:nvSpPr>
        <p:spPr>
          <a:xfrm>
            <a:off x="518317" y="4977472"/>
            <a:ext cx="2976778" cy="342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Privacy/Compliance</a:t>
            </a:r>
          </a:p>
        </p:txBody>
      </p:sp>
      <p:sp>
        <p:nvSpPr>
          <p:cNvPr id="5" name="Datumsplatzhalter 1">
            <a:extLst>
              <a:ext uri="{FF2B5EF4-FFF2-40B4-BE49-F238E27FC236}">
                <a16:creationId xmlns:a16="http://schemas.microsoft.com/office/drawing/2014/main" id="{F0769F83-7B26-863B-8529-02E626A8F889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22323336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9275B3-E7CA-B5E2-7E86-78F3501333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696B548-5B16-B9CC-7390-92E2152E95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96B548-5B16-B9CC-7390-92E2152E9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A557329-A1F0-DFA1-CEF0-3E6F08DD1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A9C171-83ED-7573-EE76-3363D0002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8AF7848-C365-4644-9ABC-4C84C66BC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332399"/>
          </a:xfrm>
        </p:spPr>
        <p:txBody>
          <a:bodyPr vert="horz"/>
          <a:lstStyle/>
          <a:p>
            <a:r>
              <a:rPr lang="de-DE"/>
              <a:t>Recommended Mapping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A014634-235F-032F-79C6-54E20DD809C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91F513D-9A7E-9D23-92A7-66BC6977EB0D}"/>
              </a:ext>
            </a:extLst>
          </p:cNvPr>
          <p:cNvSpPr txBox="1"/>
          <p:nvPr/>
        </p:nvSpPr>
        <p:spPr>
          <a:xfrm>
            <a:off x="7362702" y="3109291"/>
            <a:ext cx="3946785" cy="18389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15000"/>
              </a:lnSpc>
            </a:pPr>
            <a:r>
              <a:rPr lang="de-DE" sz="2400" b="1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ecommended Use Cases:</a:t>
            </a:r>
          </a:p>
          <a:p>
            <a:pPr marL="285750" lvl="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de-DE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llaborative Learning</a:t>
            </a:r>
          </a:p>
          <a:p>
            <a:pPr marL="285750" lvl="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de-DE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roblem-</a:t>
            </a:r>
            <a:r>
              <a:rPr lang="de-DE" sz="2000" kern="100" err="1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ased</a:t>
            </a:r>
            <a:r>
              <a:rPr lang="de-DE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Learning</a:t>
            </a:r>
          </a:p>
          <a:p>
            <a:pPr marL="285750" lvl="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mmunity-</a:t>
            </a:r>
            <a:r>
              <a:rPr lang="de-DE" sz="2000" kern="100" err="1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ased</a:t>
            </a:r>
            <a:r>
              <a:rPr lang="de-DE" sz="20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Learning</a:t>
            </a: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A862D3D-4018-DBE3-6D42-32A267A6F2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7676" y="2788256"/>
            <a:ext cx="2160000" cy="2160000"/>
          </a:xfrm>
          <a:prstGeom prst="rect">
            <a:avLst/>
          </a:prstGeom>
        </p:spPr>
      </p:pic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EA967685-162A-09D3-2D21-3C5654933B4A}"/>
              </a:ext>
            </a:extLst>
          </p:cNvPr>
          <p:cNvSpPr/>
          <p:nvPr/>
        </p:nvSpPr>
        <p:spPr>
          <a:xfrm>
            <a:off x="4356418" y="3401568"/>
            <a:ext cx="2047542" cy="903767"/>
          </a:xfrm>
          <a:prstGeom prst="rightArrow">
            <a:avLst/>
          </a:prstGeom>
          <a:solidFill>
            <a:srgbClr val="B61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Multiplikationszeichen 12">
            <a:extLst>
              <a:ext uri="{FF2B5EF4-FFF2-40B4-BE49-F238E27FC236}">
                <a16:creationId xmlns:a16="http://schemas.microsoft.com/office/drawing/2014/main" id="{D4442673-433B-1BFD-8BD3-855A8047FAC0}"/>
              </a:ext>
            </a:extLst>
          </p:cNvPr>
          <p:cNvSpPr/>
          <p:nvPr/>
        </p:nvSpPr>
        <p:spPr>
          <a:xfrm>
            <a:off x="1461403" y="2829935"/>
            <a:ext cx="1690577" cy="2160000"/>
          </a:xfrm>
          <a:prstGeom prst="mathMultiply">
            <a:avLst/>
          </a:prstGeom>
          <a:solidFill>
            <a:srgbClr val="B61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A7E1789-8509-7BB9-A13B-9ADDE8837A0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Focus on Metaverse </a:t>
            </a:r>
            <a:r>
              <a:rPr lang="de-DE" err="1"/>
              <a:t>solutions</a:t>
            </a:r>
            <a:r>
              <a:rPr lang="de-DE"/>
              <a:t> in a supportive </a:t>
            </a:r>
            <a:r>
              <a:rPr lang="de-DE" err="1"/>
              <a:t>role</a:t>
            </a:r>
            <a:endParaRPr lang="de-DE"/>
          </a:p>
        </p:txBody>
      </p:sp>
      <p:sp>
        <p:nvSpPr>
          <p:cNvPr id="7" name="Datumsplatzhalter 1">
            <a:extLst>
              <a:ext uri="{FF2B5EF4-FFF2-40B4-BE49-F238E27FC236}">
                <a16:creationId xmlns:a16="http://schemas.microsoft.com/office/drawing/2014/main" id="{1660F1DD-B458-9F38-6206-0FD37019E33D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618763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2" grpId="0" animBg="1"/>
      <p:bldP spid="1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38CD71-E808-5CD8-68C8-EC13D6C04A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DBC158D-7FBA-A088-1F71-AE4344E426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3086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BC158D-7FBA-A088-1F71-AE4344E42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4E2E6E-892B-2481-8229-75A846A6A2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3CB6928-6918-9C82-78C7-326CFA9A6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A04E2C1-C809-F307-A64E-85334D8C6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332399"/>
          </a:xfrm>
        </p:spPr>
        <p:txBody>
          <a:bodyPr vert="horz"/>
          <a:lstStyle/>
          <a:p>
            <a:r>
              <a:rPr lang="de-DE" err="1"/>
              <a:t>Three</a:t>
            </a:r>
            <a:r>
              <a:rPr lang="de-DE"/>
              <a:t> </a:t>
            </a:r>
            <a:r>
              <a:rPr lang="de-DE" err="1"/>
              <a:t>Factors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ne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explored</a:t>
            </a:r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782526C6-56D7-A23C-9C41-C122EE391B5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5460CBD-F2EF-ABFC-72FA-03C1E221A5A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Research Gap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6E5FCCD-7336-5F80-0BC7-AF23B54E413F}"/>
              </a:ext>
            </a:extLst>
          </p:cNvPr>
          <p:cNvSpPr txBox="1"/>
          <p:nvPr/>
        </p:nvSpPr>
        <p:spPr>
          <a:xfrm>
            <a:off x="1580648" y="4877275"/>
            <a:ext cx="2091942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mmersio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1437B042-A2F0-5D04-6BDC-40A45B5378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3185" y="2670449"/>
            <a:ext cx="1974946" cy="1974946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4DC29C84-0477-5385-B52C-250001E821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6000" y="2824017"/>
            <a:ext cx="1800000" cy="180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3297830F-38B4-A02E-9C66-9F93F73AFB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38815" y="2761132"/>
            <a:ext cx="1800000" cy="1800000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C86030E-F3EF-F7B3-6064-DA191409909A}"/>
              </a:ext>
            </a:extLst>
          </p:cNvPr>
          <p:cNvSpPr txBox="1"/>
          <p:nvPr/>
        </p:nvSpPr>
        <p:spPr>
          <a:xfrm>
            <a:off x="4761255" y="4877275"/>
            <a:ext cx="292869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mework, Rules, Guideline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814773C-69FD-6652-1BA2-19FB688A48A9}"/>
              </a:ext>
            </a:extLst>
          </p:cNvPr>
          <p:cNvSpPr txBox="1"/>
          <p:nvPr/>
        </p:nvSpPr>
        <p:spPr>
          <a:xfrm>
            <a:off x="8778619" y="4877275"/>
            <a:ext cx="2427903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‘s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Metaverse</a:t>
            </a:r>
          </a:p>
        </p:txBody>
      </p:sp>
      <p:sp>
        <p:nvSpPr>
          <p:cNvPr id="28" name="Datumsplatzhalter 1">
            <a:extLst>
              <a:ext uri="{FF2B5EF4-FFF2-40B4-BE49-F238E27FC236}">
                <a16:creationId xmlns:a16="http://schemas.microsoft.com/office/drawing/2014/main" id="{F87E7ADC-F77F-EC33-903D-C3010493D8B6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40054229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8982CC6-A48B-49E3-D63D-AF02573B77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2884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982CC6-A48B-49E3-D63D-AF02573B7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E38E6A0-A513-D259-0461-06A85A772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4EE7EB-E138-75C1-99C5-4BDB3BACB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9F6CB96-14FA-2397-5FBB-680AFE487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he </a:t>
            </a:r>
            <a:r>
              <a:rPr lang="de-DE" err="1"/>
              <a:t>result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affected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our</a:t>
            </a:r>
            <a:r>
              <a:rPr lang="de-DE"/>
              <a:t> </a:t>
            </a:r>
            <a:r>
              <a:rPr lang="de-DE" err="1"/>
              <a:t>expectations</a:t>
            </a:r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01776E64-477A-E91C-6BA2-76B1F6599D7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FF3621E-4E0C-8215-0BC2-291EC819CCE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err="1"/>
              <a:t>Limitations</a:t>
            </a:r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9BFD2F2-ACA4-3ADF-7A57-EC842241AF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5559" y="2362199"/>
            <a:ext cx="1317069" cy="1317069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3346FFA5-9EB3-987C-09D5-5D4E5300A283}"/>
              </a:ext>
            </a:extLst>
          </p:cNvPr>
          <p:cNvSpPr txBox="1"/>
          <p:nvPr/>
        </p:nvSpPr>
        <p:spPr>
          <a:xfrm>
            <a:off x="3116027" y="4186934"/>
            <a:ext cx="2718663" cy="1456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b="1">
                <a:solidFill>
                  <a:prstClr val="black"/>
                </a:solidFill>
                <a:latin typeface="Arial"/>
              </a:rPr>
              <a:t>Communication Challenges</a:t>
            </a: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 Room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for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interpretation</a:t>
            </a:r>
            <a:endParaRPr lang="de-DE" sz="1400">
              <a:solidFill>
                <a:prstClr val="black"/>
              </a:solidFill>
              <a:latin typeface="Arial"/>
            </a:endParaRP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400">
              <a:solidFill>
                <a:prstClr val="black"/>
              </a:solidFill>
              <a:latin typeface="Arial"/>
            </a:endParaRP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FC6BB23-CDEF-AEAC-FCDB-73B8A5C10F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2902" y="2362199"/>
            <a:ext cx="1317069" cy="1317069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C4D2B0D6-69CF-C643-7ABC-F705418198B8}"/>
              </a:ext>
            </a:extLst>
          </p:cNvPr>
          <p:cNvSpPr txBox="1"/>
          <p:nvPr/>
        </p:nvSpPr>
        <p:spPr>
          <a:xfrm>
            <a:off x="6264680" y="4186934"/>
            <a:ext cx="2196044" cy="643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y Design</a:t>
            </a:r>
            <a:endParaRPr lang="de-DE" sz="1400">
              <a:solidFill>
                <a:prstClr val="black"/>
              </a:solidFill>
              <a:latin typeface="Arial"/>
            </a:endParaRP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Biased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by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nudge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/frame</a:t>
            </a:r>
            <a:endParaRPr lang="de-DE" sz="14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F53E676-6F2C-FC2C-BCB3-298DECF09D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58077" y="2362199"/>
            <a:ext cx="1317069" cy="1317069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3C76D11F-C30D-AA51-1960-FCE9FCABE07A}"/>
              </a:ext>
            </a:extLst>
          </p:cNvPr>
          <p:cNvSpPr txBox="1"/>
          <p:nvPr/>
        </p:nvSpPr>
        <p:spPr>
          <a:xfrm>
            <a:off x="9434975" y="4186934"/>
            <a:ext cx="2196044" cy="643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</a:t>
            </a:r>
            <a:endParaRPr lang="de-DE" sz="1600" b="1">
              <a:solidFill>
                <a:prstClr val="black"/>
              </a:solidFill>
              <a:latin typeface="Arial"/>
            </a:endParaRP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 Limited </a:t>
            </a:r>
            <a:r>
              <a:rPr kumimoji="0" lang="de-DE" sz="140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to</a:t>
            </a: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 IS </a:t>
            </a:r>
            <a:r>
              <a:rPr kumimoji="0" lang="de-DE" sz="140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bachelor</a:t>
            </a:r>
            <a:endParaRPr kumimoji="0" lang="de-DE" sz="14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06CE9058-A4EC-2E7A-3EDB-6328889DD7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323" y="2362199"/>
            <a:ext cx="1317069" cy="1317069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119C687F-7862-F67C-D374-8167EACBA2FD}"/>
              </a:ext>
            </a:extLst>
          </p:cNvPr>
          <p:cNvSpPr txBox="1"/>
          <p:nvPr/>
        </p:nvSpPr>
        <p:spPr>
          <a:xfrm>
            <a:off x="556101" y="4186934"/>
            <a:ext cx="2196044" cy="643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e Size</a:t>
            </a:r>
          </a:p>
          <a:p>
            <a:pPr marR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 22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Participants</a:t>
            </a:r>
            <a:endParaRPr kumimoji="0" lang="de-DE" sz="14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Datumsplatzhalter 1">
            <a:extLst>
              <a:ext uri="{FF2B5EF4-FFF2-40B4-BE49-F238E27FC236}">
                <a16:creationId xmlns:a16="http://schemas.microsoft.com/office/drawing/2014/main" id="{C5528EDC-BFC5-12F9-6C15-4BCA347947A9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22296148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E2C4E5-CE31-5673-487A-54C9F9FC72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76CA5EC-EACE-F21F-3364-CBDEE35D23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081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6CA5EC-EACE-F21F-3364-CBDEE35D23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55C7AE-C5E2-1735-22D0-EA612FE6A6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8A0B97-83AF-16DC-E9E6-B4784674B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7A06B9F-608B-4EA3-FFA2-E47FA402B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ooking at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a </a:t>
            </a:r>
            <a:r>
              <a:rPr lang="de-DE" err="1"/>
              <a:t>retrospective</a:t>
            </a:r>
            <a:r>
              <a:rPr lang="de-DE"/>
              <a:t> </a:t>
            </a:r>
            <a:r>
              <a:rPr lang="de-DE" err="1"/>
              <a:t>point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view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9267B3-646A-2A7E-BFF6-3FD58DED4416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E72FB7C-05C3-0453-AD14-824B7714361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Reflexio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C86332AA-B4F8-B6B0-25AD-50109EF1CA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6000" y="2177912"/>
            <a:ext cx="2160000" cy="21600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DFE321E2-2F27-140A-F06D-B02C601CB6C6}"/>
              </a:ext>
            </a:extLst>
          </p:cNvPr>
          <p:cNvSpPr txBox="1"/>
          <p:nvPr/>
        </p:nvSpPr>
        <p:spPr>
          <a:xfrm>
            <a:off x="4700592" y="4451680"/>
            <a:ext cx="2923167" cy="15081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y Design</a:t>
            </a: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 Structured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interviews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are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easy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to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conduct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but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only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have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a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small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frame  </a:t>
            </a: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 Questions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were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partly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to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open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or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hard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to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interpret</a:t>
            </a:r>
            <a:endParaRPr lang="de-DE" sz="1400">
              <a:solidFill>
                <a:prstClr val="black"/>
              </a:solidFill>
              <a:latin typeface="Arial"/>
              <a:sym typeface="Wingdings" panose="05000000000000000000" pitchFamily="2" charset="2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C4851D03-FD0F-BDEC-09F6-217EB30A57B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4644" y="2183064"/>
            <a:ext cx="2160000" cy="21600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FD0FA5F9-CB4C-2143-56DF-AC2BEDB08DDF}"/>
              </a:ext>
            </a:extLst>
          </p:cNvPr>
          <p:cNvSpPr txBox="1"/>
          <p:nvPr/>
        </p:nvSpPr>
        <p:spPr>
          <a:xfrm>
            <a:off x="1018600" y="4451680"/>
            <a:ext cx="2196044" cy="6433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ion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rts</a:t>
            </a: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 Many expert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groups</a:t>
            </a:r>
            <a:endParaRPr kumimoji="0" lang="de-DE" sz="14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7B70080-E8CF-1648-A5A6-2DC844F5DC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91659" y="2104066"/>
            <a:ext cx="2160000" cy="2160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F36C25D6-6298-B3FD-66D9-AD091C8643E3}"/>
              </a:ext>
            </a:extLst>
          </p:cNvPr>
          <p:cNvSpPr txBox="1"/>
          <p:nvPr/>
        </p:nvSpPr>
        <p:spPr>
          <a:xfrm>
            <a:off x="8810350" y="4451680"/>
            <a:ext cx="2562499" cy="8803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b="1">
                <a:solidFill>
                  <a:prstClr val="black"/>
                </a:solidFill>
                <a:latin typeface="Arial"/>
              </a:rPr>
              <a:t>Triangulation</a:t>
            </a:r>
          </a:p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 Hard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to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find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the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balance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between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our</a:t>
            </a:r>
            <a:r>
              <a:rPr lang="de-DE" sz="1400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 3 </a:t>
            </a:r>
            <a:r>
              <a:rPr lang="de-DE" sz="1400" err="1">
                <a:solidFill>
                  <a:prstClr val="black"/>
                </a:solidFill>
                <a:latin typeface="Arial"/>
                <a:sym typeface="Wingdings" panose="05000000000000000000" pitchFamily="2" charset="2"/>
              </a:rPr>
              <a:t>methods</a:t>
            </a:r>
            <a:endParaRPr lang="de-DE" sz="1400">
              <a:solidFill>
                <a:prstClr val="black"/>
              </a:solidFill>
              <a:latin typeface="Arial"/>
              <a:sym typeface="Wingdings" panose="05000000000000000000" pitchFamily="2" charset="2"/>
            </a:endParaRP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229AC514-13D3-4CAC-34F9-649C25196179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14622170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718413-CB1C-1827-0170-28EF92F5C2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718413-CB1C-1827-0170-28EF92F5C2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1A7C0F9-207E-82C6-344A-15970C0A9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DD1137-C8D0-968B-0E57-2D3946BB0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56FFC27-A35E-2255-2188-87ECEDFEB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eferences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91E65F1-118F-85EF-101A-53B49BEF11F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18EB5FC-7B54-8E17-EDA2-A51C0BF9BAC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A91DE2F0-A8E9-7889-987A-E201C48FEFFA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518316" y="1578529"/>
            <a:ext cx="11157747" cy="4693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ccenture. (2022).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ccenture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Von Technology Vision 2022: https://www.accenture.com/us-en/insights/technology/technology-trends-2022 abgerufen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ré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M. (5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ctobe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2023). Interview - Monica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ré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orme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ead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immersiv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earn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t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tea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xecutiv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irecto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IDEA Lab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Imperial College London. (S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aliti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Interviewer)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elova, K., &amp; Belova, K. (6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Janurar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2023). Metaverse in Education: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xplan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us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as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enefit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ixelPlex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havana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S., &amp;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Vijayalakshmi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V. (2022). AI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ased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Metaverse Technologies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dvancement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mpact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o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ighe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duc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earner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WSEAS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ransactions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on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ystem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S. 178-184.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itkom e. V. (16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ctobe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2023).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itkom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Von Corporate Learning: Metaverse &amp; Lernen: https://www.bitkom.org/Themen/Bildung-Arbeit/Bildung/Trendreport-E-Learning/Corporate-Learning/Metaverse-und-Lernen abgerufen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rookings. (9. March 2022). 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rooking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Von A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whol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ew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world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Educatio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et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Metaverse : https://www.brookings.edu/articles/a-whole-new-world-education-meets-the-metaverse/ abgerufen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enge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M., &amp; Yildiz, E. (2022). Teachers' Attitud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cal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oward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Metaverse Use: A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cal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Development Study. 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ducation Quarterly Review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hen, X., Zou, D., Xie, H., &amp; Wang, F. L. (2023). Metaverse in Education: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ntributor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operation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search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m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EEE Transactions on Learning Technologi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S. 1-18.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hen, Z. (2022)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xplor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pplic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cenario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ssu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ac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tavers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echnolog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i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duc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eractive Learning Environment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S. 1-13.</a:t>
            </a:r>
          </a:p>
          <a:p>
            <a:pPr>
              <a:lnSpc>
                <a:spcPct val="100000"/>
              </a:lnSpc>
            </a:pPr>
            <a:r>
              <a:rPr lang="en-US" sz="1300"/>
              <a:t>Gioia, D. A., Corley, K. G. &amp; Hamilton, A. L. (2012). Seeking qualitative rigor in inductive research. Organizational Research Methods, 16(1), 15–31. </a:t>
            </a:r>
          </a:p>
          <a:p>
            <a:pPr>
              <a:lnSpc>
                <a:spcPct val="100000"/>
              </a:lnSpc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Guo, Y.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Yu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T., Wu, J., Wang, Y., Wan, S., Zheng, J., . . . Dai, Q. (2022)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rtific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elligenc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o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taverse:a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Framework. 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AAI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elligence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Research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54-67.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avard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Graduate School. (9. June 2022).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avard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Graduate School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Educ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Vo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What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Will Learning i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Metaverse Look Like?: https://www.gse.harvard.edu/ideas/usable-knowledge/22/06/what-will-learning-metaverse-look abgerufen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eričko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T., &amp;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Šumak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B. (2023). Commit Classificatio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o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Software Maintenanc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ctiviti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A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ystematic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iteratur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Review. 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023 IEEE 47th Annual Computers, Software, and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pplications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Conference (COMPSAC)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(S. 1646-165). Torino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tal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IEE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Xplor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ines, P., &amp;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etland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T. H. (6 2022). Teaching a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ea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sterclas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i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tavers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ernational Journal </a:t>
            </a:r>
            <a:r>
              <a:rPr kumimoji="0" lang="de-DE" altLang="de-DE" sz="13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Lean Six Sigma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S. 1121-1143.</a:t>
            </a:r>
            <a:endParaRPr kumimoji="0" lang="de-DE" alt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41C753F3-D4EF-033B-4257-727BA06E1600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8633854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718413-CB1C-1827-0170-28EF92F5C2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718413-CB1C-1827-0170-28EF92F5C2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1A7C0F9-207E-82C6-344A-15970C0A9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DD1137-C8D0-968B-0E57-2D3946BB0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56FFC27-A35E-2255-2188-87ECEDFEB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eferences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91E65F1-118F-85EF-101A-53B49BEF11F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18EB5FC-7B54-8E17-EDA2-A51C0BF9BAC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A91DE2F0-A8E9-7889-987A-E201C48FEFFA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518316" y="1678556"/>
            <a:ext cx="11157747" cy="4493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yunh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-The, T., Pham, Q., Nguyen, T., Han, Z., &amp; Kim, D. (2023)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rtifici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elligenc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o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Metaverse: A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urve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Engineering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pplication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rtifici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telligenc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117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Kitchenham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B. A., &amp; Charters, S. (2007). Guidelines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o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erform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ystematic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iteratur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view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i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oftwar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ngineer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echnnic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port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Keel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University and University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Durham Tech. Rep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kransk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G., &amp; Petersen, G. B. (4 2023). The Theory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Immersive Collaborative Learning (TICOL)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ducatioin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sycholog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Review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uthmainnah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Yakin, A. A., &amp;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eraj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P. M. (1 2023). Impact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tavers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echnolog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o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tudent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ngagement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cademic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erformanc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Th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diat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ol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earn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otiv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International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journ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mputation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form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nfactur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S. 10-18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ewzoo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(2022)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ewzoo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Vo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ow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nsumer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r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ngag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with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Games in 2022 |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ewzoo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Gamer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sight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prot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https://newzoo.com/resources/trend-reports/how-consumers-are-engaging-with-games-in-2022 abgerufe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ark, S. M., &amp; Kim, Y. (10 2022). A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tavers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axonom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mponent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pplication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and ope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halleng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IEEE Access, S. 4209-4251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ark, S. M., &amp; Kim, Y. (2022)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dentify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Worl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yp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o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Deliver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Gamefu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xperienc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o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ustainabl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Learning i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Metaverse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ustainabilit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ahman, K.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hito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S., Islam, M.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ftekha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K., &amp; Saha, P. (2023). Us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Metaverse Technology in Education Domain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ourn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Metavers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ibeiro, R. (11. April 2022). „Metaverse“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ducation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potential | Cambridge English. . Worl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ette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Learning | Cambridge University Pres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on , H. R., &amp; Lee, C. K. (11 2022). A Study on Metavers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latform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yp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haracteristic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ccord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o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Purpos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Use and Experience Method. J.DCS, S. 2181-2190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Worl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conomic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Forum. (3. March 2023). Worl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conomic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Forum. Vo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ow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uld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tavers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mpact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duc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? : https://www.weforum.org/agenda/2022/12/metaverse-impact-education-learning/ abgerufe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Yilmaz, M.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'Farel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E., &amp; Clarke, P. M. (9 2023).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xamin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rain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duc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potential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tavers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sult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rom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mpiric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tud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ext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generation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SAF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raining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Journal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Software: Evolution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roces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Yu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J. (2022). Exploratio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f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Educational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ossibiliti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our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Metaverse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yp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i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hyscial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Education. Technologi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Zhang, X., Chen, Y., Hu, L., &amp; Wang, Y. (2022). The Metaverse in Education: Definition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ramework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eatur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potential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pplication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hallenge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and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uture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search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opics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Frontiers in </a:t>
            </a:r>
            <a:r>
              <a:rPr kumimoji="0" lang="de-DE" altLang="de-DE" sz="13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sychology</a:t>
            </a:r>
            <a:r>
              <a:rPr kumimoji="0" lang="de-DE" altLang="de-DE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19AB20BC-67BD-6A9E-779C-495331B15C30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19946623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BA52DC59-798D-4CDA-98FF-5D0945BBE21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75" b="11875"/>
          <a:stretch>
            <a:fillRect/>
          </a:stretch>
        </p:blipFill>
        <p:spPr/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19A5CE3-0A54-4753-8559-F8C4F10AFA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1628775"/>
            <a:ext cx="12192000" cy="5229225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F721586-3090-4DCB-A125-5B6AC19992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804118"/>
            <a:ext cx="11157745" cy="1249766"/>
          </a:xfrm>
        </p:spPr>
        <p:txBody>
          <a:bodyPr/>
          <a:lstStyle/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!</a:t>
            </a:r>
          </a:p>
          <a:p>
            <a:r>
              <a:rPr lang="de-DE" sz="2800" err="1"/>
              <a:t>We</a:t>
            </a:r>
            <a:r>
              <a:rPr lang="de-DE" sz="2800"/>
              <a:t> </a:t>
            </a:r>
            <a:r>
              <a:rPr lang="de-DE" sz="2800" err="1"/>
              <a:t>are</a:t>
            </a:r>
            <a:r>
              <a:rPr lang="de-DE" sz="2800"/>
              <a:t> happy </a:t>
            </a:r>
            <a:r>
              <a:rPr lang="de-DE" sz="2800" err="1"/>
              <a:t>to</a:t>
            </a:r>
            <a:r>
              <a:rPr lang="de-DE" sz="2800"/>
              <a:t> </a:t>
            </a:r>
            <a:r>
              <a:rPr lang="de-DE" sz="2800" err="1"/>
              <a:t>answer</a:t>
            </a:r>
            <a:r>
              <a:rPr lang="de-DE" sz="2800"/>
              <a:t> </a:t>
            </a:r>
            <a:r>
              <a:rPr lang="de-DE" sz="2800" err="1"/>
              <a:t>your</a:t>
            </a:r>
            <a:r>
              <a:rPr lang="de-DE" sz="2800"/>
              <a:t> </a:t>
            </a:r>
            <a:r>
              <a:rPr lang="de-DE" sz="2800" err="1"/>
              <a:t>questions</a:t>
            </a:r>
            <a:r>
              <a:rPr lang="de-DE" sz="2800"/>
              <a:t> and </a:t>
            </a:r>
            <a:r>
              <a:rPr lang="de-DE" sz="2800" err="1"/>
              <a:t>receive</a:t>
            </a:r>
            <a:r>
              <a:rPr lang="de-DE" sz="2800"/>
              <a:t> </a:t>
            </a:r>
            <a:r>
              <a:rPr lang="de-DE" sz="2800" err="1"/>
              <a:t>feedback</a:t>
            </a:r>
            <a:r>
              <a:rPr lang="de-DE" sz="280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01641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D95048-1913-EBEF-2D08-057F8C8B54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19532D3-9CCB-0EB3-792B-BBE655B262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3809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9532D3-9CCB-0EB3-792B-BBE655B262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9DAC4CB-4FC9-6DA8-F737-109ECA8C4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319" y="6634666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5EFCC6-DB64-2D46-5ED5-D00F03392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DD64BF6-ED49-C683-1FAD-F1139BEDF1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44184" y="1759807"/>
            <a:ext cx="6703631" cy="2960707"/>
          </a:xfrm>
        </p:spPr>
        <p:txBody>
          <a:bodyPr>
            <a:normAutofit/>
          </a:bodyPr>
          <a:lstStyle/>
          <a:p>
            <a:pPr algn="ctr"/>
            <a:r>
              <a:rPr lang="de-DE" sz="1800"/>
              <a:t>„</a:t>
            </a:r>
            <a:r>
              <a:rPr lang="de-DE" sz="1800" err="1"/>
              <a:t>What</a:t>
            </a:r>
            <a:r>
              <a:rPr lang="de-DE" sz="1800"/>
              <a:t> </a:t>
            </a:r>
            <a:r>
              <a:rPr lang="de-DE" sz="1800" err="1"/>
              <a:t>are</a:t>
            </a:r>
            <a:r>
              <a:rPr lang="de-DE" sz="1800"/>
              <a:t> </a:t>
            </a:r>
            <a:r>
              <a:rPr lang="de-DE" sz="1800" err="1"/>
              <a:t>implications</a:t>
            </a:r>
            <a:r>
              <a:rPr lang="de-DE" sz="1800"/>
              <a:t> </a:t>
            </a:r>
            <a:r>
              <a:rPr lang="de-DE" sz="1800" err="1"/>
              <a:t>for</a:t>
            </a:r>
            <a:r>
              <a:rPr lang="de-DE" sz="1800"/>
              <a:t> </a:t>
            </a:r>
            <a:r>
              <a:rPr lang="de-DE" sz="1800" err="1"/>
              <a:t>the</a:t>
            </a:r>
            <a:r>
              <a:rPr lang="de-DE" sz="1800"/>
              <a:t> </a:t>
            </a:r>
            <a:r>
              <a:rPr lang="de-DE" sz="1800" err="1"/>
              <a:t>implementation</a:t>
            </a:r>
            <a:r>
              <a:rPr lang="de-DE" sz="1800"/>
              <a:t> </a:t>
            </a:r>
            <a:r>
              <a:rPr lang="de-DE" sz="1800" err="1"/>
              <a:t>of</a:t>
            </a:r>
            <a:r>
              <a:rPr lang="de-DE" sz="1800"/>
              <a:t> </a:t>
            </a:r>
            <a:r>
              <a:rPr lang="de-DE" sz="1800" err="1"/>
              <a:t>metaverse</a:t>
            </a:r>
            <a:r>
              <a:rPr lang="de-DE" sz="1800"/>
              <a:t> </a:t>
            </a:r>
            <a:r>
              <a:rPr lang="de-DE" sz="1800" err="1"/>
              <a:t>solutions</a:t>
            </a:r>
            <a:r>
              <a:rPr lang="de-DE" sz="1800"/>
              <a:t> in </a:t>
            </a:r>
            <a:r>
              <a:rPr lang="de-DE" sz="1800" err="1"/>
              <a:t>higher</a:t>
            </a:r>
            <a:r>
              <a:rPr lang="de-DE" sz="1800"/>
              <a:t> </a:t>
            </a:r>
            <a:r>
              <a:rPr lang="de-DE" sz="1800" err="1"/>
              <a:t>education</a:t>
            </a:r>
            <a:r>
              <a:rPr lang="de-DE" sz="1800"/>
              <a:t>? “</a:t>
            </a:r>
            <a:endParaRPr lang="de-DE" sz="900"/>
          </a:p>
          <a:p>
            <a:pPr marL="179705" lvl="1" indent="0">
              <a:buNone/>
            </a:pPr>
            <a:endParaRPr lang="de-DE">
              <a:cs typeface="Arial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4DD037D-D2A8-DC57-5695-8DEEA7FBC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42813" cy="332399"/>
          </a:xfrm>
        </p:spPr>
        <p:txBody>
          <a:bodyPr vert="horz"/>
          <a:lstStyle/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nswered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esearch</a:t>
            </a:r>
            <a:r>
              <a:rPr lang="de-DE"/>
              <a:t> </a:t>
            </a:r>
            <a:r>
              <a:rPr lang="de-DE" err="1"/>
              <a:t>question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3 </a:t>
            </a:r>
            <a:r>
              <a:rPr lang="de-DE" err="1"/>
              <a:t>methods</a:t>
            </a:r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C02B87-E8F2-CB61-8A7C-F9D24F83BF1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8B53710-BA32-E99A-3A42-00755BF7A40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Study design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EAA3F800-ECE4-4A16-5DC5-45C62A8406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60877" y="3380323"/>
            <a:ext cx="1251262" cy="1251262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661CB7B4-E2D4-2092-644C-4114A3EFA9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26399" y="3345274"/>
            <a:ext cx="1251263" cy="1251263"/>
          </a:xfrm>
          <a:prstGeom prst="rect">
            <a:avLst/>
          </a:prstGeom>
        </p:spPr>
      </p:pic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AE732F2C-7BBC-8198-D893-3099E2D6E308}"/>
              </a:ext>
            </a:extLst>
          </p:cNvPr>
          <p:cNvSpPr txBox="1">
            <a:spLocks/>
          </p:cNvSpPr>
          <p:nvPr/>
        </p:nvSpPr>
        <p:spPr>
          <a:xfrm>
            <a:off x="7800144" y="4903165"/>
            <a:ext cx="2871185" cy="386413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>
                <a:solidFill>
                  <a:prstClr val="black"/>
                </a:solidFill>
                <a:latin typeface="Arial"/>
              </a:rPr>
              <a:t>Expert Interviews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95C279B-3F75-647E-B06B-5518FA3ED7A8}"/>
              </a:ext>
            </a:extLst>
          </p:cNvPr>
          <p:cNvSpPr txBox="1">
            <a:spLocks/>
          </p:cNvSpPr>
          <p:nvPr/>
        </p:nvSpPr>
        <p:spPr>
          <a:xfrm>
            <a:off x="1518539" y="4903165"/>
            <a:ext cx="2871185" cy="386413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err="1">
                <a:solidFill>
                  <a:prstClr val="black"/>
                </a:solidFill>
                <a:latin typeface="Arial"/>
              </a:rPr>
              <a:t>Literature</a:t>
            </a:r>
            <a:r>
              <a:rPr lang="de-DE" sz="1800">
                <a:solidFill>
                  <a:prstClr val="black"/>
                </a:solidFill>
                <a:latin typeface="Arial"/>
              </a:rPr>
              <a:t> Review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62C1B4C8-98F5-B027-0B0A-4CDEC5B9B210}"/>
              </a:ext>
            </a:extLst>
          </p:cNvPr>
          <p:cNvSpPr txBox="1">
            <a:spLocks/>
          </p:cNvSpPr>
          <p:nvPr/>
        </p:nvSpPr>
        <p:spPr>
          <a:xfrm>
            <a:off x="4726731" y="4903165"/>
            <a:ext cx="2871185" cy="386413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>
                <a:solidFill>
                  <a:prstClr val="black"/>
                </a:solidFill>
                <a:latin typeface="Arial"/>
              </a:rPr>
              <a:t>Use Case Analysis</a:t>
            </a:r>
          </a:p>
        </p:txBody>
      </p:sp>
      <p:pic>
        <p:nvPicPr>
          <p:cNvPr id="1026" name="Picture 2" descr="Business Case Icons - Download Free Vector Icons | Noun Project">
            <a:extLst>
              <a:ext uri="{FF2B5EF4-FFF2-40B4-BE49-F238E27FC236}">
                <a16:creationId xmlns:a16="http://schemas.microsoft.com/office/drawing/2014/main" id="{84A7CAE5-AF3D-72FC-D284-C377B291B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3051" y="3361585"/>
            <a:ext cx="1270000" cy="1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Datumsplatzhalter 1">
            <a:extLst>
              <a:ext uri="{FF2B5EF4-FFF2-40B4-BE49-F238E27FC236}">
                <a16:creationId xmlns:a16="http://schemas.microsoft.com/office/drawing/2014/main" id="{64F97727-93B8-0814-C839-71A40873F289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4825198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196517-285B-3ED8-C1C6-C247863C2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err="1"/>
              <a:t>Literature</a:t>
            </a:r>
            <a:r>
              <a:rPr lang="de-DE"/>
              <a:t> Review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DE0820E-19F3-7AB3-9BA2-D460E3EC2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9. Februar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086B0E-6DFB-A2A5-7858-D2B4BA2A0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289F2BA-4376-2BC1-6F76-FEBA264F5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6192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C08FDBF-3D2E-4D39-DD7B-9BE12FD4BA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189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08FDBF-3D2E-4D39-DD7B-9BE12FD4B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F150D79-2652-85A4-36C4-FB0874C5F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16164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032C2A-BC54-FD17-897A-24EB45927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714FC84-1712-3A26-0E17-82B784CAE5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1897953"/>
            <a:ext cx="7887765" cy="1527703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Structured </a:t>
            </a:r>
            <a:r>
              <a:rPr lang="de-DE" sz="1800" err="1"/>
              <a:t>Literature</a:t>
            </a:r>
            <a:r>
              <a:rPr lang="de-DE" sz="1800"/>
              <a:t> Analysis </a:t>
            </a:r>
            <a:r>
              <a:rPr lang="de-DE" sz="900"/>
              <a:t>(</a:t>
            </a:r>
            <a:r>
              <a:rPr lang="de-DE" sz="900" err="1"/>
              <a:t>adopted</a:t>
            </a:r>
            <a:r>
              <a:rPr lang="de-DE" sz="900"/>
              <a:t> </a:t>
            </a:r>
            <a:r>
              <a:rPr lang="de-DE" sz="900" err="1"/>
              <a:t>from</a:t>
            </a:r>
            <a:r>
              <a:rPr lang="de-DE" sz="900"/>
              <a:t> </a:t>
            </a:r>
            <a:r>
              <a:rPr lang="de-DE" sz="900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itchenham</a:t>
            </a:r>
            <a:r>
              <a:rPr lang="de-DE" sz="9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and Charters </a:t>
            </a:r>
            <a:r>
              <a:rPr lang="de-DE" sz="900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y</a:t>
            </a:r>
            <a:r>
              <a:rPr lang="de-DE" sz="9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sz="900" b="0" i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ericko</a:t>
            </a:r>
            <a:r>
              <a:rPr lang="de-DE" sz="9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and Sumak)</a:t>
            </a:r>
            <a:endParaRPr lang="de-DE" sz="900"/>
          </a:p>
          <a:p>
            <a:pPr lvl="1" indent="0">
              <a:buNone/>
            </a:pP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2F91D58-FAC4-ADAB-1F11-88D6E7B7C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65070" cy="332399"/>
          </a:xfrm>
        </p:spPr>
        <p:txBody>
          <a:bodyPr vert="horz"/>
          <a:lstStyle/>
          <a:p>
            <a:r>
              <a:rPr lang="de-DE"/>
              <a:t>Structured </a:t>
            </a:r>
            <a:r>
              <a:rPr lang="de-DE" err="1"/>
              <a:t>Literature</a:t>
            </a:r>
            <a:r>
              <a:rPr lang="de-DE"/>
              <a:t> Review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913F5F-80E9-7079-2990-BC6D93CAE233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8F3A41D-DCDE-0008-645C-BAC43680A79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err="1"/>
              <a:t>Literature</a:t>
            </a:r>
            <a:r>
              <a:rPr lang="de-DE"/>
              <a:t> Review - SLA</a:t>
            </a:r>
          </a:p>
        </p:txBody>
      </p:sp>
      <p:pic>
        <p:nvPicPr>
          <p:cNvPr id="10" name="Image 23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CC7E869C-52C1-3DAF-0EE7-3B1DCFDBA72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136581" y="3190189"/>
            <a:ext cx="1005349" cy="1005349"/>
          </a:xfrm>
          <a:prstGeom prst="rect">
            <a:avLst/>
          </a:prstGeom>
        </p:spPr>
      </p:pic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CFD3B061-3571-4FF6-94D7-13B0060D9BF2}"/>
              </a:ext>
            </a:extLst>
          </p:cNvPr>
          <p:cNvSpPr txBox="1">
            <a:spLocks/>
          </p:cNvSpPr>
          <p:nvPr/>
        </p:nvSpPr>
        <p:spPr>
          <a:xfrm>
            <a:off x="1677604" y="4490986"/>
            <a:ext cx="1923301" cy="42373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algn="ctr">
              <a:buNone/>
            </a:pPr>
            <a:r>
              <a:rPr lang="de-DE" sz="1800"/>
              <a:t>Search </a:t>
            </a:r>
            <a:r>
              <a:rPr lang="de-DE" sz="1800" err="1"/>
              <a:t>terms</a:t>
            </a:r>
            <a:endParaRPr lang="de-DE" sz="180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B2AC7412-8DCC-3CCE-9562-9544FCDABB55}"/>
              </a:ext>
            </a:extLst>
          </p:cNvPr>
          <p:cNvSpPr txBox="1">
            <a:spLocks/>
          </p:cNvSpPr>
          <p:nvPr/>
        </p:nvSpPr>
        <p:spPr>
          <a:xfrm>
            <a:off x="3940509" y="4490986"/>
            <a:ext cx="2296347" cy="562801"/>
          </a:xfrm>
          <a:prstGeom prst="rect">
            <a:avLst/>
          </a:prstGeom>
        </p:spPr>
        <p:txBody>
          <a:bodyPr vert="horz" lIns="0" tIns="0" rIns="360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algn="ctr">
              <a:buNone/>
            </a:pPr>
            <a:r>
              <a:rPr lang="de-DE" sz="1800"/>
              <a:t>Libraries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F68DDE2E-8CF7-DB9C-7570-155318E11CF2}"/>
              </a:ext>
            </a:extLst>
          </p:cNvPr>
          <p:cNvSpPr txBox="1">
            <a:spLocks/>
          </p:cNvSpPr>
          <p:nvPr/>
        </p:nvSpPr>
        <p:spPr>
          <a:xfrm>
            <a:off x="6556923" y="4482071"/>
            <a:ext cx="1923301" cy="42373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algn="ctr">
              <a:buNone/>
            </a:pPr>
            <a:r>
              <a:rPr lang="de-DE" sz="1800"/>
              <a:t>Search </a:t>
            </a:r>
            <a:r>
              <a:rPr lang="de-DE" sz="1800" err="1"/>
              <a:t>query</a:t>
            </a:r>
            <a:endParaRPr lang="de-DE" sz="1800"/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8F6B6B22-B722-14E7-EF83-4D4BC82F4DB0}"/>
              </a:ext>
            </a:extLst>
          </p:cNvPr>
          <p:cNvSpPr txBox="1">
            <a:spLocks/>
          </p:cNvSpPr>
          <p:nvPr/>
        </p:nvSpPr>
        <p:spPr>
          <a:xfrm>
            <a:off x="8723240" y="4460019"/>
            <a:ext cx="1923301" cy="454706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algn="ctr">
              <a:buNone/>
            </a:pPr>
            <a:r>
              <a:rPr lang="de-DE" sz="1800" err="1"/>
              <a:t>Relevance</a:t>
            </a:r>
            <a:endParaRPr lang="de-DE" sz="180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B2B04A4D-95CC-39E1-DAD5-4976D7A8BF6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851016" y="3115539"/>
            <a:ext cx="1186830" cy="118683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87E03796-281A-6C46-2DB1-D30790C4B0EC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91475" y="3136956"/>
            <a:ext cx="1102420" cy="110242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5E53B955-DB27-AF2F-A322-101EBBBD8B89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451310" y="3115539"/>
            <a:ext cx="1251262" cy="1251262"/>
          </a:xfrm>
          <a:prstGeom prst="rect">
            <a:avLst/>
          </a:prstGeom>
        </p:spPr>
      </p:pic>
      <p:sp>
        <p:nvSpPr>
          <p:cNvPr id="28" name="Datumsplatzhalter 1">
            <a:extLst>
              <a:ext uri="{FF2B5EF4-FFF2-40B4-BE49-F238E27FC236}">
                <a16:creationId xmlns:a16="http://schemas.microsoft.com/office/drawing/2014/main" id="{5C281F4C-C943-852B-8082-3D1B7AAD854E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2684686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19BDB5-413A-7DE8-C9BD-00FB56932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87EEFB6-6F8F-ADC2-BDCB-B378C312EF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7536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7EEFB6-6F8F-ADC2-BDCB-B378C312E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9BBFDE8-6622-543A-DE9C-035AD9C7D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16164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A5CD0CE-D9F8-F29C-CB74-E3AA516D82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95280EC-1A25-7908-08C5-6D6D21352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8610692" cy="332399"/>
          </a:xfrm>
        </p:spPr>
        <p:txBody>
          <a:bodyPr vert="horz"/>
          <a:lstStyle/>
          <a:p>
            <a:r>
              <a:rPr lang="de-DE" err="1"/>
              <a:t>Defining</a:t>
            </a:r>
            <a:r>
              <a:rPr lang="de-DE"/>
              <a:t> </a:t>
            </a:r>
            <a:r>
              <a:rPr lang="de-DE" err="1"/>
              <a:t>search</a:t>
            </a:r>
            <a:r>
              <a:rPr lang="de-DE"/>
              <a:t> </a:t>
            </a:r>
            <a:r>
              <a:rPr lang="de-DE" err="1"/>
              <a:t>terms</a:t>
            </a:r>
            <a:r>
              <a:rPr lang="de-DE"/>
              <a:t> </a:t>
            </a:r>
            <a:r>
              <a:rPr lang="de-DE" err="1"/>
              <a:t>based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esearch</a:t>
            </a:r>
            <a:r>
              <a:rPr lang="de-DE"/>
              <a:t> </a:t>
            </a:r>
            <a:r>
              <a:rPr lang="de-DE" err="1"/>
              <a:t>question</a:t>
            </a:r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72CC698-9B9D-57A3-43E2-01F59CB0714D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F143B27-B06F-D3F5-757A-20ED91857EA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Search Terms</a:t>
            </a:r>
          </a:p>
        </p:txBody>
      </p:sp>
      <p:pic>
        <p:nvPicPr>
          <p:cNvPr id="10" name="Image 23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D9BE9EAC-5760-297E-9765-6987DAF52B49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6000" y="3169410"/>
            <a:ext cx="1005349" cy="1005349"/>
          </a:xfrm>
          <a:prstGeom prst="rect">
            <a:avLst/>
          </a:prstGeom>
        </p:spPr>
      </p:pic>
      <p:sp>
        <p:nvSpPr>
          <p:cNvPr id="15" name="Rectangle 11">
            <a:extLst>
              <a:ext uri="{FF2B5EF4-FFF2-40B4-BE49-F238E27FC236}">
                <a16:creationId xmlns:a16="http://schemas.microsoft.com/office/drawing/2014/main" id="{42DB2E0E-3114-824B-A570-B5BDF8BB3D38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Term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3A09B070-9C7F-BA3A-951A-1A568ECC3C2C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brari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DB1FE4B4-5EF7-D178-06D5-CC76E076224A}"/>
              </a:ext>
            </a:extLst>
          </p:cNvPr>
          <p:cNvSpPr txBox="1">
            <a:spLocks/>
          </p:cNvSpPr>
          <p:nvPr/>
        </p:nvSpPr>
        <p:spPr>
          <a:xfrm>
            <a:off x="7802279" y="2833140"/>
            <a:ext cx="3873784" cy="268323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„</a:t>
            </a:r>
            <a:r>
              <a:rPr lang="de-DE" sz="1800" err="1"/>
              <a:t>metaverse</a:t>
            </a:r>
            <a:r>
              <a:rPr lang="de-DE" sz="1800"/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„</a:t>
            </a:r>
            <a:r>
              <a:rPr lang="de-DE" sz="1800" err="1"/>
              <a:t>learning</a:t>
            </a:r>
            <a:r>
              <a:rPr lang="de-DE" sz="1800"/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„</a:t>
            </a:r>
            <a:r>
              <a:rPr lang="de-DE" sz="1800" err="1"/>
              <a:t>education</a:t>
            </a:r>
            <a:r>
              <a:rPr lang="de-DE" sz="1800"/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„</a:t>
            </a:r>
            <a:r>
              <a:rPr lang="de-DE" sz="1800" err="1"/>
              <a:t>higher</a:t>
            </a:r>
            <a:r>
              <a:rPr lang="de-DE" sz="1800"/>
              <a:t>“</a:t>
            </a:r>
          </a:p>
          <a:p>
            <a:pPr lvl="1" indent="0">
              <a:buFont typeface="Symbol" panose="05050102010706020507" pitchFamily="18" charset="2"/>
              <a:buNone/>
            </a:pPr>
            <a:endParaRPr lang="de-DE"/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E01B10ED-D9BD-6584-1CB8-BC2B4CD9EF5B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Search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query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&amp;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Relevance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14">
            <a:extLst>
              <a:ext uri="{FF2B5EF4-FFF2-40B4-BE49-F238E27FC236}">
                <a16:creationId xmlns:a16="http://schemas.microsoft.com/office/drawing/2014/main" id="{B6E34BBC-08AE-07BF-7854-EB9E823717F9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traction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Datumsplatzhalter 1">
            <a:extLst>
              <a:ext uri="{FF2B5EF4-FFF2-40B4-BE49-F238E27FC236}">
                <a16:creationId xmlns:a16="http://schemas.microsoft.com/office/drawing/2014/main" id="{51916B8A-8D32-538F-6792-FC508EC63544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40293094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6FFA1C-B471-A138-30F7-3E480853A8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D2464B3-9421-5CEC-AA7C-FB654169C2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4029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2464B3-9421-5CEC-AA7C-FB654169C2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E5C1D08-B379-9F1E-3603-E45F5FDD5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16164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19EB3A-1DD0-32E9-0134-293F0B3D8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BB4E278-FC0B-EFBF-ADE6-3F27A9FA9C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02279" y="2833140"/>
            <a:ext cx="3873784" cy="2683239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Science </a:t>
            </a:r>
            <a:r>
              <a:rPr lang="de-DE" sz="1800" err="1"/>
              <a:t>Direct</a:t>
            </a:r>
            <a:endParaRPr lang="de-DE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err="1"/>
              <a:t>Scopus</a:t>
            </a:r>
            <a:endParaRPr lang="de-DE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IEEE </a:t>
            </a:r>
            <a:r>
              <a:rPr lang="de-DE" sz="1800" err="1"/>
              <a:t>Xplore</a:t>
            </a:r>
            <a:endParaRPr lang="de-DE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err="1"/>
              <a:t>Practical</a:t>
            </a:r>
            <a:r>
              <a:rPr lang="de-DE" sz="1800"/>
              <a:t> Sources</a:t>
            </a:r>
          </a:p>
          <a:p>
            <a:pPr lvl="1" indent="0">
              <a:buNone/>
            </a:pP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7EB6860-173D-A935-FC64-6274F07E7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7" y="301185"/>
            <a:ext cx="9899033" cy="332399"/>
          </a:xfrm>
        </p:spPr>
        <p:txBody>
          <a:bodyPr vert="horz"/>
          <a:lstStyle/>
          <a:p>
            <a:r>
              <a:rPr lang="de-DE"/>
              <a:t>Not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scientific</a:t>
            </a:r>
            <a:r>
              <a:rPr lang="de-DE"/>
              <a:t> </a:t>
            </a:r>
            <a:r>
              <a:rPr lang="de-DE" err="1"/>
              <a:t>libraries</a:t>
            </a:r>
            <a:r>
              <a:rPr lang="de-DE"/>
              <a:t> hold </a:t>
            </a:r>
            <a:r>
              <a:rPr lang="de-DE" err="1"/>
              <a:t>important</a:t>
            </a:r>
            <a:r>
              <a:rPr lang="de-DE"/>
              <a:t> </a:t>
            </a:r>
            <a:r>
              <a:rPr lang="de-DE" err="1"/>
              <a:t>information</a:t>
            </a:r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2023DA1-3028-C696-AB8D-FD29157E940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EF240C-ECD1-7C10-F490-117C10748C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/>
              <a:t>Libraries &amp; </a:t>
            </a:r>
            <a:r>
              <a:rPr lang="de-DE" err="1"/>
              <a:t>practical</a:t>
            </a:r>
            <a:r>
              <a:rPr lang="de-DE"/>
              <a:t> </a:t>
            </a:r>
            <a:r>
              <a:rPr lang="de-DE" err="1"/>
              <a:t>sources</a:t>
            </a:r>
            <a:endParaRPr lang="de-DE"/>
          </a:p>
        </p:txBody>
      </p:sp>
      <p:sp>
        <p:nvSpPr>
          <p:cNvPr id="25" name="Datumsplatzhalter 1">
            <a:extLst>
              <a:ext uri="{FF2B5EF4-FFF2-40B4-BE49-F238E27FC236}">
                <a16:creationId xmlns:a16="http://schemas.microsoft.com/office/drawing/2014/main" id="{5BBC74E0-9B43-AEEC-8468-BB0498A9A31C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86BC7C-E29F-AA07-0BE9-F0BBE7D715B9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985669" y="3128275"/>
            <a:ext cx="1251262" cy="1251262"/>
          </a:xfrm>
          <a:prstGeom prst="rect">
            <a:avLst/>
          </a:prstGeom>
        </p:spPr>
      </p:pic>
      <p:sp>
        <p:nvSpPr>
          <p:cNvPr id="20" name="Rectangle 11">
            <a:extLst>
              <a:ext uri="{FF2B5EF4-FFF2-40B4-BE49-F238E27FC236}">
                <a16:creationId xmlns:a16="http://schemas.microsoft.com/office/drawing/2014/main" id="{D072C799-4693-A42D-4768-800306704E59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Term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7F63458F-9A4D-3AAE-F9F0-763A4DF4FE9A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brari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13">
            <a:extLst>
              <a:ext uri="{FF2B5EF4-FFF2-40B4-BE49-F238E27FC236}">
                <a16:creationId xmlns:a16="http://schemas.microsoft.com/office/drawing/2014/main" id="{9322DE8F-8D75-4456-05BF-3A9D677F74BC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Search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query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&amp;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Relevance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EDC00AD3-97C9-3EC8-BB06-95A4FCF3B39D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traction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10745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1FD496-3991-55AF-DFCC-192C1422A2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D39AB1F-FE4B-60B2-53CD-41BAFEBAAB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69192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39AB1F-FE4B-60B2-53CD-41BAFEBAAB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29D86E-8817-E60F-A084-E77CAF317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16164"/>
            <a:ext cx="5469732" cy="80057"/>
          </a:xfrm>
        </p:spPr>
        <p:txBody>
          <a:bodyPr/>
          <a:lstStyle/>
          <a:p>
            <a:r>
              <a:rPr lang="de-DE"/>
              <a:t>Wirtschafts- und Sozialwissenschaften | </a:t>
            </a:r>
            <a:r>
              <a:rPr lang="de-DE" err="1"/>
              <a:t>WiSo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66A114E-5787-A752-091D-21EC8AA04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AC58CE-E0B0-D862-9218-CB41660F5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7765070" cy="332399"/>
          </a:xfrm>
        </p:spPr>
        <p:txBody>
          <a:bodyPr vert="horz"/>
          <a:lstStyle/>
          <a:p>
            <a:r>
              <a:rPr lang="de-DE" err="1"/>
              <a:t>Metadata</a:t>
            </a:r>
            <a:r>
              <a:rPr lang="de-DE"/>
              <a:t> was </a:t>
            </a:r>
            <a:r>
              <a:rPr lang="de-DE" err="1"/>
              <a:t>us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get</a:t>
            </a:r>
            <a:r>
              <a:rPr lang="de-DE"/>
              <a:t> an </a:t>
            </a:r>
            <a:r>
              <a:rPr lang="de-DE" err="1"/>
              <a:t>overview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ach</a:t>
            </a:r>
            <a:r>
              <a:rPr lang="de-DE"/>
              <a:t> </a:t>
            </a:r>
            <a:r>
              <a:rPr lang="de-DE" err="1"/>
              <a:t>paper</a:t>
            </a:r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BDDF7BA-A17D-6EE4-F2B4-C0789FC2EA15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3E135D-5FD5-BFE8-FC64-4469B715C4C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err="1"/>
              <a:t>Metadata</a:t>
            </a:r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2910A9A-5AAF-84FD-1116-54ACFE9985D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985669" y="3031459"/>
            <a:ext cx="1186830" cy="1186830"/>
          </a:xfrm>
          <a:prstGeom prst="rect">
            <a:avLst/>
          </a:prstGeom>
        </p:spPr>
      </p:pic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4EF827E-BFE9-3D05-8099-4B3C8E964A7A}"/>
              </a:ext>
            </a:extLst>
          </p:cNvPr>
          <p:cNvSpPr txBox="1">
            <a:spLocks/>
          </p:cNvSpPr>
          <p:nvPr/>
        </p:nvSpPr>
        <p:spPr>
          <a:xfrm>
            <a:off x="7802279" y="2518348"/>
            <a:ext cx="3873784" cy="2998032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err="1"/>
              <a:t>Metadata</a:t>
            </a:r>
            <a:r>
              <a:rPr lang="de-DE" sz="180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Tit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Abstr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/>
              <a:t>Keywo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err="1"/>
              <a:t>Citations</a:t>
            </a:r>
            <a:endParaRPr lang="de-DE" sz="1800"/>
          </a:p>
          <a:p>
            <a:pPr lvl="1" indent="0">
              <a:buFont typeface="Symbol" panose="05050102010706020507" pitchFamily="18" charset="2"/>
              <a:buNone/>
            </a:pPr>
            <a:endParaRPr lang="de-DE"/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23733B31-3B1A-BA45-6489-D5AAAB8E569B}"/>
              </a:ext>
            </a:extLst>
          </p:cNvPr>
          <p:cNvSpPr/>
          <p:nvPr/>
        </p:nvSpPr>
        <p:spPr>
          <a:xfrm>
            <a:off x="518317" y="1576552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arch Term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2">
            <a:extLst>
              <a:ext uri="{FF2B5EF4-FFF2-40B4-BE49-F238E27FC236}">
                <a16:creationId xmlns:a16="http://schemas.microsoft.com/office/drawing/2014/main" id="{4A0EF25E-E327-5579-14D3-142C19E1365B}"/>
              </a:ext>
            </a:extLst>
          </p:cNvPr>
          <p:cNvSpPr/>
          <p:nvPr/>
        </p:nvSpPr>
        <p:spPr>
          <a:xfrm>
            <a:off x="518315" y="2830660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ibraries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id="{DBA5C3BF-9A9D-16B9-EABC-B861C2C342AE}"/>
              </a:ext>
            </a:extLst>
          </p:cNvPr>
          <p:cNvSpPr/>
          <p:nvPr/>
        </p:nvSpPr>
        <p:spPr>
          <a:xfrm>
            <a:off x="518316" y="4084768"/>
            <a:ext cx="3871407" cy="458683"/>
          </a:xfrm>
          <a:prstGeom prst="rect">
            <a:avLst/>
          </a:prstGeom>
          <a:solidFill>
            <a:srgbClr val="A0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Search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query</a:t>
            </a:r>
            <a:r>
              <a:rPr lang="de-DE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 &amp; </a:t>
            </a:r>
            <a:r>
              <a:rPr lang="de-DE" sz="160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</a:rPr>
              <a:t>Relevance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687BC27B-372D-EA8C-7465-50EB4B14FA5B}"/>
              </a:ext>
            </a:extLst>
          </p:cNvPr>
          <p:cNvSpPr/>
          <p:nvPr/>
        </p:nvSpPr>
        <p:spPr>
          <a:xfrm>
            <a:off x="518315" y="5338876"/>
            <a:ext cx="3871407" cy="4586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i="0" u="none" strike="noStrike" kern="1200" normalizeH="0" baseline="0" noProof="0" err="1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xtraction</a:t>
            </a:r>
            <a:endParaRPr kumimoji="0" lang="en-US" sz="1600" i="0" u="none" strike="noStrike" kern="1200" normalizeH="0" baseline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Datumsplatzhalter 1">
            <a:extLst>
              <a:ext uri="{FF2B5EF4-FFF2-40B4-BE49-F238E27FC236}">
                <a16:creationId xmlns:a16="http://schemas.microsoft.com/office/drawing/2014/main" id="{44EBBFE1-6227-6EB8-9DBD-917C42A54116}"/>
              </a:ext>
            </a:extLst>
          </p:cNvPr>
          <p:cNvSpPr txBox="1">
            <a:spLocks/>
          </p:cNvSpPr>
          <p:nvPr/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9. Februar 2024</a:t>
            </a:r>
          </a:p>
        </p:txBody>
      </p:sp>
    </p:spTree>
    <p:extLst>
      <p:ext uri="{BB962C8B-B14F-4D97-AF65-F5344CB8AC3E}">
        <p14:creationId xmlns:p14="http://schemas.microsoft.com/office/powerpoint/2010/main" val="3772263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Wirtschafts- und Sozialwissenschaften">
  <a:themeElements>
    <a:clrScheme name="FAU - Rot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7F7F7F"/>
      </a:accent1>
      <a:accent2>
        <a:srgbClr val="662938"/>
      </a:accent2>
      <a:accent3>
        <a:srgbClr val="971B2F"/>
      </a:accent3>
      <a:accent4>
        <a:srgbClr val="C50F3C"/>
      </a:accent4>
      <a:accent5>
        <a:srgbClr val="EBCCB7"/>
      </a:accent5>
      <a:accent6>
        <a:srgbClr val="C7C7C7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6d48164-5297-47d8-a26a-2f13ff7932ba">
      <Terms xmlns="http://schemas.microsoft.com/office/infopath/2007/PartnerControls"/>
    </lcf76f155ced4ddcb4097134ff3c332f>
    <TaxCatchAll xmlns="12c9e170-4d7d-4bd7-80e1-21575957342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772A5A2D4F525439D24795902E002D9" ma:contentTypeVersion="10" ma:contentTypeDescription="Ein neues Dokument erstellen." ma:contentTypeScope="" ma:versionID="6ca36fba909a8467f08e45800661ee46">
  <xsd:schema xmlns:xsd="http://www.w3.org/2001/XMLSchema" xmlns:xs="http://www.w3.org/2001/XMLSchema" xmlns:p="http://schemas.microsoft.com/office/2006/metadata/properties" xmlns:ns2="b6d48164-5297-47d8-a26a-2f13ff7932ba" xmlns:ns3="12c9e170-4d7d-4bd7-80e1-215759573426" targetNamespace="http://schemas.microsoft.com/office/2006/metadata/properties" ma:root="true" ma:fieldsID="e5cb9456eed7284714c269ab3b5cc548" ns2:_="" ns3:_="">
    <xsd:import namespace="b6d48164-5297-47d8-a26a-2f13ff7932ba"/>
    <xsd:import namespace="12c9e170-4d7d-4bd7-80e1-2157595734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d48164-5297-47d8-a26a-2f13ff7932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dmarkierungen" ma:readOnly="false" ma:fieldId="{5cf76f15-5ced-4ddc-b409-7134ff3c332f}" ma:taxonomyMulti="true" ma:sspId="0e979915-1b84-43d5-84e4-ad1a289bda8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c9e170-4d7d-4bd7-80e1-215759573426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6f4ab49a-cef6-463e-8432-b95c1a0fb80f}" ma:internalName="TaxCatchAll" ma:showField="CatchAllData" ma:web="12c9e170-4d7d-4bd7-80e1-21575957342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1A7FE3-81F7-4596-A188-3EE8D4188E1F}">
  <ds:schemaRefs>
    <ds:schemaRef ds:uri="12c9e170-4d7d-4bd7-80e1-215759573426"/>
    <ds:schemaRef ds:uri="b6d48164-5297-47d8-a26a-2f13ff7932b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457329C-FB5F-4A4D-B331-82D30E9A74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3949EE9-486C-47E8-B4BE-C0554F80684C}">
  <ds:schemaRefs>
    <ds:schemaRef ds:uri="12c9e170-4d7d-4bd7-80e1-215759573426"/>
    <ds:schemaRef ds:uri="b6d48164-5297-47d8-a26a-2f13ff7932b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Application>Microsoft Office PowerPoint</Application>
  <PresentationFormat>Widescreen</PresentationFormat>
  <Slides>37</Slides>
  <Notes>3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38" baseType="lpstr">
      <vt:lpstr>FAU - Wirtschafts- und Sozialwissenschaften</vt:lpstr>
      <vt:lpstr>Investigating the Implications of  Metaverse Platforms on Higher Education </vt:lpstr>
      <vt:lpstr>Learning in the Metaverse</vt:lpstr>
      <vt:lpstr>Why the metaverse? </vt:lpstr>
      <vt:lpstr>We answered the research question using 3 methods</vt:lpstr>
      <vt:lpstr>Literature Review</vt:lpstr>
      <vt:lpstr>Structured Literature Review</vt:lpstr>
      <vt:lpstr>Defining search terms based on the research question</vt:lpstr>
      <vt:lpstr>Not only scientific libraries hold important information</vt:lpstr>
      <vt:lpstr>Metadata was used to get an overview of each paper</vt:lpstr>
      <vt:lpstr>Latest pubilcations and educational aspects are relevant</vt:lpstr>
      <vt:lpstr>Source with relevant knowledge</vt:lpstr>
      <vt:lpstr>Use Cases</vt:lpstr>
      <vt:lpstr>Basic concepts understanding</vt:lpstr>
      <vt:lpstr>Search and filter keywords  </vt:lpstr>
      <vt:lpstr>Search and filter keywords   </vt:lpstr>
      <vt:lpstr>Search and filter keywords   </vt:lpstr>
      <vt:lpstr>Extract Use Cases from literature </vt:lpstr>
      <vt:lpstr>Categorize Use Cases</vt:lpstr>
      <vt:lpstr>Define the learning strategies </vt:lpstr>
      <vt:lpstr>Define and document the trends </vt:lpstr>
      <vt:lpstr>Define and document the trends  </vt:lpstr>
      <vt:lpstr>Expert Interviews</vt:lpstr>
      <vt:lpstr>Define the goals of the interview</vt:lpstr>
      <vt:lpstr>Prepare the interview </vt:lpstr>
      <vt:lpstr>Conduct the interview </vt:lpstr>
      <vt:lpstr>Analyze the collected data </vt:lpstr>
      <vt:lpstr>Results</vt:lpstr>
      <vt:lpstr>Mixed perception but promising potential </vt:lpstr>
      <vt:lpstr>Implications for implementing the Metaverse in higher education</vt:lpstr>
      <vt:lpstr>Risk and Problems when implementing Metaverse solutions</vt:lpstr>
      <vt:lpstr>Recommended Mapping</vt:lpstr>
      <vt:lpstr>Three Factors that need to be explored</vt:lpstr>
      <vt:lpstr>The results are affected by our expectations</vt:lpstr>
      <vt:lpstr>Looking at it from a retrospective point of view</vt:lpstr>
      <vt:lpstr>References</vt:lpstr>
      <vt:lpstr>Referen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llkommen</dc:title>
  <dc:creator>Julia Gutschmidt</dc:creator>
  <cp:revision>1</cp:revision>
  <dcterms:created xsi:type="dcterms:W3CDTF">2021-11-18T07:49:57Z</dcterms:created>
  <dcterms:modified xsi:type="dcterms:W3CDTF">2024-02-09T08:5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72A5A2D4F525439D24795902E002D9</vt:lpwstr>
  </property>
  <property fmtid="{D5CDD505-2E9C-101B-9397-08002B2CF9AE}" pid="3" name="MediaServiceImageTags">
    <vt:lpwstr/>
  </property>
</Properties>
</file>